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3" r:id="rId2"/>
  </p:sldMasterIdLst>
  <p:notesMasterIdLst>
    <p:notesMasterId r:id="rId15"/>
  </p:notesMasterIdLst>
  <p:handoutMasterIdLst>
    <p:handoutMasterId r:id="rId16"/>
  </p:handoutMasterIdLst>
  <p:sldIdLst>
    <p:sldId id="257" r:id="rId3"/>
    <p:sldId id="262" r:id="rId4"/>
    <p:sldId id="746" r:id="rId5"/>
    <p:sldId id="747" r:id="rId6"/>
    <p:sldId id="751" r:id="rId7"/>
    <p:sldId id="280" r:id="rId8"/>
    <p:sldId id="750" r:id="rId9"/>
    <p:sldId id="266" r:id="rId10"/>
    <p:sldId id="748" r:id="rId11"/>
    <p:sldId id="745" r:id="rId12"/>
    <p:sldId id="749" r:id="rId13"/>
    <p:sldId id="268"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tya Sai Kiran Jalasutram" initials="" lastIdx="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D808C"/>
    <a:srgbClr val="E66B17"/>
    <a:srgbClr val="E76B17"/>
    <a:srgbClr val="FFC001"/>
    <a:srgbClr val="7F7F7F"/>
    <a:srgbClr val="E94924"/>
    <a:srgbClr val="004B87"/>
    <a:srgbClr val="A6A6A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2364C8D-05CD-2243-9882-4082C1F51503}" v="11" dt="2018-10-31T14:45:35.00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734" autoAdjust="0"/>
    <p:restoredTop sz="94660"/>
  </p:normalViewPr>
  <p:slideViewPr>
    <p:cSldViewPr snapToGrid="0">
      <p:cViewPr varScale="1">
        <p:scale>
          <a:sx n="69" d="100"/>
          <a:sy n="69" d="100"/>
        </p:scale>
        <p:origin x="954" y="60"/>
      </p:cViewPr>
      <p:guideLst/>
    </p:cSldViewPr>
  </p:slideViewPr>
  <p:notesTextViewPr>
    <p:cViewPr>
      <p:scale>
        <a:sx n="1" d="1"/>
        <a:sy n="1" d="1"/>
      </p:scale>
      <p:origin x="0" y="0"/>
    </p:cViewPr>
  </p:notesTextViewPr>
  <p:notesViewPr>
    <p:cSldViewPr snapToGrid="0">
      <p:cViewPr varScale="1">
        <p:scale>
          <a:sx n="66" d="100"/>
          <a:sy n="66" d="100"/>
        </p:scale>
        <p:origin x="3252"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99F67A0-D3A8-4D97-9507-BF1040FACB2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494A4FA3-E1B0-4DDB-97BB-AB4DA4341BE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160741E-F130-48AA-A500-C70085B6CBD8}" type="datetimeFigureOut">
              <a:rPr lang="en-US" smtClean="0"/>
              <a:t>11/1/2018</a:t>
            </a:fld>
            <a:endParaRPr lang="en-US" dirty="0"/>
          </a:p>
        </p:txBody>
      </p:sp>
      <p:sp>
        <p:nvSpPr>
          <p:cNvPr id="4" name="Footer Placeholder 3">
            <a:extLst>
              <a:ext uri="{FF2B5EF4-FFF2-40B4-BE49-F238E27FC236}">
                <a16:creationId xmlns:a16="http://schemas.microsoft.com/office/drawing/2014/main" id="{5856859E-BE96-490C-B528-D2CBEEBFDAA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4B102CD7-6FAA-4A96-8ECF-9A9457EAA9D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DE27F09-7B4F-41D9-99FE-F0F2B8591763}" type="slidenum">
              <a:rPr lang="en-US" smtClean="0"/>
              <a:t>‹#›</a:t>
            </a:fld>
            <a:endParaRPr lang="en-US" dirty="0"/>
          </a:p>
        </p:txBody>
      </p:sp>
    </p:spTree>
    <p:extLst>
      <p:ext uri="{BB962C8B-B14F-4D97-AF65-F5344CB8AC3E}">
        <p14:creationId xmlns:p14="http://schemas.microsoft.com/office/powerpoint/2010/main" val="17806779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A41DC9-8E8F-412D-BDDB-701FE17B1030}" type="datetimeFigureOut">
              <a:rPr lang="en-US" smtClean="0"/>
              <a:t>11/1/2018</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26B0F89-2024-47C3-9FC5-3D302FE42C27}" type="slidenum">
              <a:rPr lang="en-US" smtClean="0"/>
              <a:t>‹#›</a:t>
            </a:fld>
            <a:endParaRPr lang="en-US" dirty="0"/>
          </a:p>
        </p:txBody>
      </p:sp>
    </p:spTree>
    <p:extLst>
      <p:ext uri="{BB962C8B-B14F-4D97-AF65-F5344CB8AC3E}">
        <p14:creationId xmlns:p14="http://schemas.microsoft.com/office/powerpoint/2010/main" val="21496093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405145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tiff"/></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10.tiff"/><Relationship Id="rId4" Type="http://schemas.openxmlformats.org/officeDocument/2006/relationships/image" Target="../media/image3.tif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1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C6928B-883D-4CA1-82E6-E8843817FEB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C9B122F-5CA7-415E-A524-F2A09E45BE0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81012F2-1021-4D1A-A8CC-29A4EA71B974}"/>
              </a:ext>
            </a:extLst>
          </p:cNvPr>
          <p:cNvSpPr>
            <a:spLocks noGrp="1"/>
          </p:cNvSpPr>
          <p:nvPr>
            <p:ph type="dt" sz="half" idx="10"/>
          </p:nvPr>
        </p:nvSpPr>
        <p:spPr/>
        <p:txBody>
          <a:bodyPr/>
          <a:lstStyle/>
          <a:p>
            <a:fld id="{3E316B11-C070-45EB-847B-0666F96AFBE7}" type="datetimeFigureOut">
              <a:rPr lang="en-US" smtClean="0"/>
              <a:t>11/1/2018</a:t>
            </a:fld>
            <a:endParaRPr lang="en-US" dirty="0"/>
          </a:p>
        </p:txBody>
      </p:sp>
      <p:sp>
        <p:nvSpPr>
          <p:cNvPr id="5" name="Footer Placeholder 4">
            <a:extLst>
              <a:ext uri="{FF2B5EF4-FFF2-40B4-BE49-F238E27FC236}">
                <a16:creationId xmlns:a16="http://schemas.microsoft.com/office/drawing/2014/main" id="{CE6EE343-366B-4E25-9A0A-923CC6FBA6E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224FD80-0435-4680-8B73-F6C1CA762B9E}"/>
              </a:ext>
            </a:extLst>
          </p:cNvPr>
          <p:cNvSpPr>
            <a:spLocks noGrp="1"/>
          </p:cNvSpPr>
          <p:nvPr>
            <p:ph type="sldNum" sz="quarter" idx="12"/>
          </p:nvPr>
        </p:nvSpPr>
        <p:spPr/>
        <p:txBody>
          <a:bodyPr/>
          <a:lstStyle/>
          <a:p>
            <a:fld id="{E3A441B9-75B9-44B5-89DD-FE49CF310A47}" type="slidenum">
              <a:rPr lang="en-US" smtClean="0"/>
              <a:t>‹#›</a:t>
            </a:fld>
            <a:endParaRPr lang="en-US" dirty="0"/>
          </a:p>
        </p:txBody>
      </p:sp>
    </p:spTree>
    <p:extLst>
      <p:ext uri="{BB962C8B-B14F-4D97-AF65-F5344CB8AC3E}">
        <p14:creationId xmlns:p14="http://schemas.microsoft.com/office/powerpoint/2010/main" val="37486061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E93384-707B-4651-B900-C5659CF5545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44BA65B-8B6E-47CE-AC92-BFEA9CC86E40}"/>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36FA3D1-058B-45FB-B87A-6555DCC65991}"/>
              </a:ext>
            </a:extLst>
          </p:cNvPr>
          <p:cNvSpPr>
            <a:spLocks noGrp="1"/>
          </p:cNvSpPr>
          <p:nvPr>
            <p:ph type="dt" sz="half" idx="10"/>
          </p:nvPr>
        </p:nvSpPr>
        <p:spPr/>
        <p:txBody>
          <a:bodyPr/>
          <a:lstStyle/>
          <a:p>
            <a:fld id="{3E316B11-C070-45EB-847B-0666F96AFBE7}" type="datetimeFigureOut">
              <a:rPr lang="en-US" smtClean="0"/>
              <a:t>11/1/2018</a:t>
            </a:fld>
            <a:endParaRPr lang="en-US" dirty="0"/>
          </a:p>
        </p:txBody>
      </p:sp>
      <p:sp>
        <p:nvSpPr>
          <p:cNvPr id="5" name="Footer Placeholder 4">
            <a:extLst>
              <a:ext uri="{FF2B5EF4-FFF2-40B4-BE49-F238E27FC236}">
                <a16:creationId xmlns:a16="http://schemas.microsoft.com/office/drawing/2014/main" id="{32D3741D-4E73-44A3-BD5C-A8923B43327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7139CE0-5128-499F-B5FB-9E9402C4B2C8}"/>
              </a:ext>
            </a:extLst>
          </p:cNvPr>
          <p:cNvSpPr>
            <a:spLocks noGrp="1"/>
          </p:cNvSpPr>
          <p:nvPr>
            <p:ph type="sldNum" sz="quarter" idx="12"/>
          </p:nvPr>
        </p:nvSpPr>
        <p:spPr/>
        <p:txBody>
          <a:bodyPr/>
          <a:lstStyle/>
          <a:p>
            <a:fld id="{E3A441B9-75B9-44B5-89DD-FE49CF310A47}" type="slidenum">
              <a:rPr lang="en-US" smtClean="0"/>
              <a:t>‹#›</a:t>
            </a:fld>
            <a:endParaRPr lang="en-US" dirty="0"/>
          </a:p>
        </p:txBody>
      </p:sp>
    </p:spTree>
    <p:extLst>
      <p:ext uri="{BB962C8B-B14F-4D97-AF65-F5344CB8AC3E}">
        <p14:creationId xmlns:p14="http://schemas.microsoft.com/office/powerpoint/2010/main" val="10821067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CA57FDB-9F73-4FF8-9541-7CC3CB15124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5DB8B8B-CEA8-4D4A-B0B6-B943AD51FED9}"/>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F8212CD-B9ED-44C7-AC89-5BE5DEEB0ED6}"/>
              </a:ext>
            </a:extLst>
          </p:cNvPr>
          <p:cNvSpPr>
            <a:spLocks noGrp="1"/>
          </p:cNvSpPr>
          <p:nvPr>
            <p:ph type="dt" sz="half" idx="10"/>
          </p:nvPr>
        </p:nvSpPr>
        <p:spPr/>
        <p:txBody>
          <a:bodyPr/>
          <a:lstStyle/>
          <a:p>
            <a:fld id="{3E316B11-C070-45EB-847B-0666F96AFBE7}" type="datetimeFigureOut">
              <a:rPr lang="en-US" smtClean="0"/>
              <a:t>11/1/2018</a:t>
            </a:fld>
            <a:endParaRPr lang="en-US" dirty="0"/>
          </a:p>
        </p:txBody>
      </p:sp>
      <p:sp>
        <p:nvSpPr>
          <p:cNvPr id="5" name="Footer Placeholder 4">
            <a:extLst>
              <a:ext uri="{FF2B5EF4-FFF2-40B4-BE49-F238E27FC236}">
                <a16:creationId xmlns:a16="http://schemas.microsoft.com/office/drawing/2014/main" id="{93D72CDD-8A85-4476-B03F-E5DE2E57AAD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E6AA63A-669B-4D49-84CD-4CC37AEF0D3F}"/>
              </a:ext>
            </a:extLst>
          </p:cNvPr>
          <p:cNvSpPr>
            <a:spLocks noGrp="1"/>
          </p:cNvSpPr>
          <p:nvPr>
            <p:ph type="sldNum" sz="quarter" idx="12"/>
          </p:nvPr>
        </p:nvSpPr>
        <p:spPr/>
        <p:txBody>
          <a:bodyPr/>
          <a:lstStyle/>
          <a:p>
            <a:fld id="{E3A441B9-75B9-44B5-89DD-FE49CF310A47}" type="slidenum">
              <a:rPr lang="en-US" smtClean="0"/>
              <a:t>‹#›</a:t>
            </a:fld>
            <a:endParaRPr lang="en-US" dirty="0"/>
          </a:p>
        </p:txBody>
      </p:sp>
    </p:spTree>
    <p:extLst>
      <p:ext uri="{BB962C8B-B14F-4D97-AF65-F5344CB8AC3E}">
        <p14:creationId xmlns:p14="http://schemas.microsoft.com/office/powerpoint/2010/main" val="33600302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ver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2E353591-A0E0-DF4E-B5F5-EABB2539683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4413"/>
          <a:stretch/>
        </p:blipFill>
        <p:spPr>
          <a:xfrm>
            <a:off x="0" y="-26963"/>
            <a:ext cx="12195176" cy="6555354"/>
          </a:xfrm>
          <a:prstGeom prst="rect">
            <a:avLst/>
          </a:prstGeom>
        </p:spPr>
      </p:pic>
      <p:sp>
        <p:nvSpPr>
          <p:cNvPr id="3" name="Shape 144"/>
          <p:cNvSpPr/>
          <p:nvPr userDrawn="1"/>
        </p:nvSpPr>
        <p:spPr>
          <a:xfrm>
            <a:off x="954" y="6537960"/>
            <a:ext cx="12190096" cy="320040"/>
          </a:xfrm>
          <a:prstGeom prst="rect">
            <a:avLst/>
          </a:prstGeom>
          <a:solidFill>
            <a:srgbClr val="3D4045"/>
          </a:solidFill>
          <a:ln w="12700">
            <a:miter lim="400000"/>
          </a:ln>
        </p:spPr>
        <p:txBody>
          <a:bodyPr lIns="54863" rIns="54863" anchor="ctr"/>
          <a:lstStyle/>
          <a:p>
            <a:pPr marL="0" marR="0" indent="0" algn="ctr" defTabSz="1097435" rtl="0" eaLnBrk="1" fontAlgn="auto" latinLnBrk="0" hangingPunct="0">
              <a:lnSpc>
                <a:spcPct val="100000"/>
              </a:lnSpc>
              <a:spcBef>
                <a:spcPts val="0"/>
              </a:spcBef>
              <a:spcAft>
                <a:spcPts val="0"/>
              </a:spcAft>
              <a:buClrTx/>
              <a:buSzTx/>
              <a:buFontTx/>
              <a:buNone/>
              <a:tabLst/>
              <a:defRPr>
                <a:solidFill>
                  <a:srgbClr val="FFFFFF"/>
                </a:solidFill>
              </a:defRPr>
            </a:pPr>
            <a:r>
              <a:rPr lang="en-US" sz="1080" b="0" i="0" dirty="0">
                <a:solidFill>
                  <a:schemeClr val="bg1">
                    <a:lumMod val="85000"/>
                  </a:schemeClr>
                </a:solidFill>
                <a:latin typeface="Lato Light" charset="0"/>
                <a:ea typeface="Lato Light" charset="0"/>
                <a:cs typeface="Lato Light" charset="0"/>
              </a:rPr>
              <a:t>© 2018 Innominds — All rights reserved — Confidential</a:t>
            </a:r>
          </a:p>
        </p:txBody>
      </p:sp>
      <p:pic>
        <p:nvPicPr>
          <p:cNvPr id="4" name="image10.png"/>
          <p:cNvPicPr>
            <a:picLocks noChangeAspect="1"/>
          </p:cNvPicPr>
          <p:nvPr userDrawn="1"/>
        </p:nvPicPr>
        <p:blipFill>
          <a:blip r:embed="rId3">
            <a:extLst/>
          </a:blip>
          <a:stretch>
            <a:fillRect/>
          </a:stretch>
        </p:blipFill>
        <p:spPr>
          <a:xfrm>
            <a:off x="96049" y="6502293"/>
            <a:ext cx="878296" cy="391381"/>
          </a:xfrm>
          <a:prstGeom prst="rect">
            <a:avLst/>
          </a:prstGeom>
          <a:ln w="12700">
            <a:miter lim="400000"/>
          </a:ln>
        </p:spPr>
      </p:pic>
      <p:sp>
        <p:nvSpPr>
          <p:cNvPr id="5" name="Shape 145"/>
          <p:cNvSpPr/>
          <p:nvPr userDrawn="1"/>
        </p:nvSpPr>
        <p:spPr>
          <a:xfrm>
            <a:off x="11753902" y="6595065"/>
            <a:ext cx="320123" cy="205826"/>
          </a:xfrm>
          <a:prstGeom prst="rect">
            <a:avLst/>
          </a:prstGeom>
          <a:solidFill>
            <a:srgbClr val="E94924"/>
          </a:solidFill>
          <a:ln w="12700" cap="flat">
            <a:noFill/>
            <a:miter lim="400000"/>
          </a:ln>
          <a:effectLst/>
        </p:spPr>
        <p:txBody>
          <a:bodyPr wrap="square" lIns="54863" tIns="54863" rIns="54863" bIns="54863" numCol="1" anchor="ctr">
            <a:noAutofit/>
          </a:bodyPr>
          <a:lstStyle/>
          <a:p>
            <a:pPr algn="ctr">
              <a:defRPr>
                <a:solidFill>
                  <a:srgbClr val="FFFFFF"/>
                </a:solidFill>
              </a:defRPr>
            </a:pPr>
            <a:fld id="{41B5EDD4-2ADD-0542-B90E-FC6D1AD5AE98}" type="slidenum">
              <a:rPr lang="uk-UA" sz="900" b="1" i="0" smtClean="0">
                <a:latin typeface="Lato Black" charset="0"/>
                <a:ea typeface="Lato Black" charset="0"/>
                <a:cs typeface="Lato Black" charset="0"/>
              </a:rPr>
              <a:t>‹#›</a:t>
            </a:fld>
            <a:endParaRPr sz="900" b="1" i="0" dirty="0">
              <a:latin typeface="Lato Black" charset="0"/>
              <a:ea typeface="Lato Black" charset="0"/>
              <a:cs typeface="Lato Black" charset="0"/>
            </a:endParaRPr>
          </a:p>
        </p:txBody>
      </p:sp>
      <p:sp>
        <p:nvSpPr>
          <p:cNvPr id="8" name="Rectangle 7"/>
          <p:cNvSpPr/>
          <p:nvPr userDrawn="1"/>
        </p:nvSpPr>
        <p:spPr>
          <a:xfrm>
            <a:off x="7274565" y="172809"/>
            <a:ext cx="4920611" cy="850525"/>
          </a:xfrm>
          <a:prstGeom prst="rect">
            <a:avLst/>
          </a:prstGeom>
          <a:gradFill flip="none" rotWithShape="1">
            <a:gsLst>
              <a:gs pos="0">
                <a:schemeClr val="bg1">
                  <a:alpha val="0"/>
                </a:schemeClr>
              </a:gs>
              <a:gs pos="15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nvGrpSpPr>
          <p:cNvPr id="9" name="Group 8"/>
          <p:cNvGrpSpPr/>
          <p:nvPr userDrawn="1"/>
        </p:nvGrpSpPr>
        <p:grpSpPr>
          <a:xfrm>
            <a:off x="8286242" y="301263"/>
            <a:ext cx="3377876" cy="642791"/>
            <a:chOff x="7574824" y="183647"/>
            <a:chExt cx="4690729" cy="892852"/>
          </a:xfrm>
        </p:grpSpPr>
        <p:sp>
          <p:nvSpPr>
            <p:cNvPr id="10" name="Shape 79"/>
            <p:cNvSpPr/>
            <p:nvPr/>
          </p:nvSpPr>
          <p:spPr>
            <a:xfrm>
              <a:off x="7574824" y="852056"/>
              <a:ext cx="4690729" cy="224443"/>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lvl1pPr>
                <a:defRPr sz="1700">
                  <a:solidFill>
                    <a:srgbClr val="FFFFFF"/>
                  </a:solidFill>
                  <a:latin typeface="Lato Thin"/>
                  <a:ea typeface="Lato Thin"/>
                  <a:cs typeface="Lato Thin"/>
                  <a:sym typeface="Lato Thin"/>
                </a:defRPr>
              </a:lvl1pPr>
            </a:lstStyle>
            <a:p>
              <a:pPr algn="ctr"/>
              <a:r>
                <a:rPr lang="en-US" sz="1050" b="1" spc="400" dirty="0">
                  <a:solidFill>
                    <a:schemeClr val="bg1">
                      <a:lumMod val="75000"/>
                    </a:schemeClr>
                  </a:solidFill>
                  <a:latin typeface="Lato" charset="0"/>
                  <a:ea typeface="Lato" charset="0"/>
                  <a:cs typeface="Lato" charset="0"/>
                </a:rPr>
                <a:t>ENGINEERING INNOVATION</a:t>
              </a:r>
              <a:endParaRPr sz="1050" b="1" spc="400" dirty="0">
                <a:solidFill>
                  <a:schemeClr val="bg1">
                    <a:lumMod val="75000"/>
                  </a:schemeClr>
                </a:solidFill>
                <a:latin typeface="Lato" charset="0"/>
                <a:ea typeface="Lato" charset="0"/>
                <a:cs typeface="Lato" charset="0"/>
              </a:endParaRPr>
            </a:p>
          </p:txBody>
        </p:sp>
        <p:pic>
          <p:nvPicPr>
            <p:cNvPr id="11" name="Picture 1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319989" y="183647"/>
              <a:ext cx="3200400" cy="575596"/>
            </a:xfrm>
            <a:prstGeom prst="rect">
              <a:avLst/>
            </a:prstGeom>
          </p:spPr>
        </p:pic>
      </p:grpSp>
    </p:spTree>
    <p:extLst>
      <p:ext uri="{BB962C8B-B14F-4D97-AF65-F5344CB8AC3E}">
        <p14:creationId xmlns:p14="http://schemas.microsoft.com/office/powerpoint/2010/main" val="3334421541"/>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with footer">
    <p:spTree>
      <p:nvGrpSpPr>
        <p:cNvPr id="1" name=""/>
        <p:cNvGrpSpPr/>
        <p:nvPr/>
      </p:nvGrpSpPr>
      <p:grpSpPr>
        <a:xfrm>
          <a:off x="0" y="0"/>
          <a:ext cx="0" cy="0"/>
          <a:chOff x="0" y="0"/>
          <a:chExt cx="0" cy="0"/>
        </a:xfrm>
      </p:grpSpPr>
      <p:sp>
        <p:nvSpPr>
          <p:cNvPr id="6" name="Freeform 5"/>
          <p:cNvSpPr/>
          <p:nvPr userDrawn="1"/>
        </p:nvSpPr>
        <p:spPr>
          <a:xfrm>
            <a:off x="1" y="1"/>
            <a:ext cx="11423267" cy="773723"/>
          </a:xfrm>
          <a:custGeom>
            <a:avLst/>
            <a:gdLst>
              <a:gd name="connsiteX0" fmla="*/ 0 w 11420292"/>
              <a:gd name="connsiteY0" fmla="*/ 0 h 773723"/>
              <a:gd name="connsiteX1" fmla="*/ 10933740 w 11420292"/>
              <a:gd name="connsiteY1" fmla="*/ 0 h 773723"/>
              <a:gd name="connsiteX2" fmla="*/ 11420292 w 11420292"/>
              <a:gd name="connsiteY2" fmla="*/ 773723 h 773723"/>
              <a:gd name="connsiteX3" fmla="*/ 0 w 11420292"/>
              <a:gd name="connsiteY3" fmla="*/ 773723 h 773723"/>
            </a:gdLst>
            <a:ahLst/>
            <a:cxnLst>
              <a:cxn ang="0">
                <a:pos x="connsiteX0" y="connsiteY0"/>
              </a:cxn>
              <a:cxn ang="0">
                <a:pos x="connsiteX1" y="connsiteY1"/>
              </a:cxn>
              <a:cxn ang="0">
                <a:pos x="connsiteX2" y="connsiteY2"/>
              </a:cxn>
              <a:cxn ang="0">
                <a:pos x="connsiteX3" y="connsiteY3"/>
              </a:cxn>
            </a:cxnLst>
            <a:rect l="l" t="t" r="r" b="b"/>
            <a:pathLst>
              <a:path w="11420292" h="773723">
                <a:moveTo>
                  <a:pt x="0" y="0"/>
                </a:moveTo>
                <a:lnTo>
                  <a:pt x="10933740" y="0"/>
                </a:lnTo>
                <a:lnTo>
                  <a:pt x="11420292" y="773723"/>
                </a:lnTo>
                <a:lnTo>
                  <a:pt x="0" y="773723"/>
                </a:lnTo>
                <a:close/>
              </a:path>
            </a:pathLst>
          </a:custGeom>
          <a:solidFill>
            <a:srgbClr val="E76B17"/>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fromWordArt="0" anchor="ctr" anchorCtr="0" forceAA="0" compatLnSpc="1">
            <a:noAutofit/>
          </a:bodyPr>
          <a:lstStyle/>
          <a:p>
            <a:pPr marL="0" marR="0" indent="0" algn="l" defTabSz="914400" rtl="0" fontAlgn="auto" latinLnBrk="0" hangingPunct="0">
              <a:lnSpc>
                <a:spcPct val="100000"/>
              </a:lnSpc>
              <a:spcBef>
                <a:spcPts val="0"/>
              </a:spcBef>
              <a:spcAft>
                <a:spcPts val="0"/>
              </a:spcAft>
              <a:buClrTx/>
              <a:buSzTx/>
              <a:buFontTx/>
              <a:buNone/>
            </a:pPr>
            <a:endParaRPr kumimoji="0" lang="en-US" sz="1400" b="0" i="0" u="none" strike="noStrike" cap="none" spc="0" normalizeH="0" baseline="0" dirty="0">
              <a:ln>
                <a:noFill/>
              </a:ln>
              <a:solidFill>
                <a:srgbClr val="000000"/>
              </a:solidFill>
              <a:effectLst/>
              <a:uFillTx/>
              <a:latin typeface="+mn-lt"/>
              <a:ea typeface="+mn-ea"/>
              <a:cs typeface="+mn-cs"/>
              <a:sym typeface="Arial" panose="020B0604020202020204"/>
            </a:endParaRPr>
          </a:p>
        </p:txBody>
      </p:sp>
      <p:sp>
        <p:nvSpPr>
          <p:cNvPr id="7" name="Freeform 6"/>
          <p:cNvSpPr/>
          <p:nvPr userDrawn="1"/>
        </p:nvSpPr>
        <p:spPr>
          <a:xfrm flipH="1" flipV="1">
            <a:off x="11118618" y="1"/>
            <a:ext cx="1073382" cy="773723"/>
          </a:xfrm>
          <a:custGeom>
            <a:avLst/>
            <a:gdLst>
              <a:gd name="connsiteX0" fmla="*/ 1073102 w 1073102"/>
              <a:gd name="connsiteY0" fmla="*/ 773723 h 773723"/>
              <a:gd name="connsiteX1" fmla="*/ 0 w 1073102"/>
              <a:gd name="connsiteY1" fmla="*/ 773723 h 773723"/>
              <a:gd name="connsiteX2" fmla="*/ 0 w 1073102"/>
              <a:gd name="connsiteY2" fmla="*/ 0 h 773723"/>
              <a:gd name="connsiteX3" fmla="*/ 586550 w 1073102"/>
              <a:gd name="connsiteY3" fmla="*/ 0 h 773723"/>
            </a:gdLst>
            <a:ahLst/>
            <a:cxnLst>
              <a:cxn ang="0">
                <a:pos x="connsiteX0" y="connsiteY0"/>
              </a:cxn>
              <a:cxn ang="0">
                <a:pos x="connsiteX1" y="connsiteY1"/>
              </a:cxn>
              <a:cxn ang="0">
                <a:pos x="connsiteX2" y="connsiteY2"/>
              </a:cxn>
              <a:cxn ang="0">
                <a:pos x="connsiteX3" y="connsiteY3"/>
              </a:cxn>
            </a:cxnLst>
            <a:rect l="l" t="t" r="r" b="b"/>
            <a:pathLst>
              <a:path w="1073102" h="773723">
                <a:moveTo>
                  <a:pt x="1073102" y="773723"/>
                </a:moveTo>
                <a:lnTo>
                  <a:pt x="0" y="773723"/>
                </a:lnTo>
                <a:lnTo>
                  <a:pt x="0" y="0"/>
                </a:lnTo>
                <a:lnTo>
                  <a:pt x="586550" y="0"/>
                </a:lnTo>
                <a:close/>
              </a:path>
            </a:pathLst>
          </a:custGeom>
          <a:solidFill>
            <a:srgbClr val="FFC00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fromWordArt="0" anchor="ctr" anchorCtr="0" forceAA="0" compatLnSpc="1">
            <a:noAutofit/>
          </a:bodyPr>
          <a:lstStyle/>
          <a:p>
            <a:pPr marL="0" marR="0" indent="0" algn="l" defTabSz="914400" rtl="0" fontAlgn="auto" latinLnBrk="0" hangingPunct="0">
              <a:lnSpc>
                <a:spcPct val="100000"/>
              </a:lnSpc>
              <a:spcBef>
                <a:spcPts val="0"/>
              </a:spcBef>
              <a:spcAft>
                <a:spcPts val="0"/>
              </a:spcAft>
              <a:buClrTx/>
              <a:buSzTx/>
              <a:buFontTx/>
              <a:buNone/>
            </a:pPr>
            <a:endParaRPr kumimoji="0" lang="en-US" sz="1400" b="0" i="0" u="none" strike="noStrike" cap="none" spc="0" normalizeH="0" baseline="0" dirty="0">
              <a:ln>
                <a:noFill/>
              </a:ln>
              <a:solidFill>
                <a:srgbClr val="000000"/>
              </a:solidFill>
              <a:effectLst/>
              <a:uFillTx/>
              <a:latin typeface="+mn-lt"/>
              <a:ea typeface="+mn-ea"/>
              <a:cs typeface="+mn-cs"/>
              <a:sym typeface="Arial" panose="020B0604020202020204"/>
            </a:endParaRPr>
          </a:p>
        </p:txBody>
      </p:sp>
      <p:sp>
        <p:nvSpPr>
          <p:cNvPr id="10" name="Shape 144"/>
          <p:cNvSpPr/>
          <p:nvPr userDrawn="1"/>
        </p:nvSpPr>
        <p:spPr>
          <a:xfrm>
            <a:off x="954" y="6537960"/>
            <a:ext cx="12190096" cy="320040"/>
          </a:xfrm>
          <a:prstGeom prst="rect">
            <a:avLst/>
          </a:prstGeom>
          <a:solidFill>
            <a:srgbClr val="3D4045"/>
          </a:solidFill>
          <a:ln w="12700">
            <a:miter lim="400000"/>
          </a:ln>
        </p:spPr>
        <p:txBody>
          <a:bodyPr lIns="54863" rIns="54863" anchor="ctr"/>
          <a:lstStyle/>
          <a:p>
            <a:pPr marL="0" marR="0" indent="0" algn="ctr" defTabSz="1097280" rtl="0" eaLnBrk="1" fontAlgn="auto" latinLnBrk="0" hangingPunct="0">
              <a:lnSpc>
                <a:spcPct val="100000"/>
              </a:lnSpc>
              <a:spcBef>
                <a:spcPts val="0"/>
              </a:spcBef>
              <a:spcAft>
                <a:spcPts val="0"/>
              </a:spcAft>
              <a:buClrTx/>
              <a:buSzTx/>
              <a:buFontTx/>
              <a:buNone/>
              <a:defRPr>
                <a:solidFill>
                  <a:srgbClr val="FFFFFF"/>
                </a:solidFill>
              </a:defRPr>
            </a:pPr>
            <a:r>
              <a:rPr lang="en-US" sz="1080" b="0" i="0" dirty="0">
                <a:solidFill>
                  <a:schemeClr val="bg1">
                    <a:lumMod val="85000"/>
                  </a:schemeClr>
                </a:solidFill>
                <a:latin typeface="Lato Light" charset="0"/>
                <a:ea typeface="Lato Light" charset="0"/>
                <a:cs typeface="Lato Light" charset="0"/>
              </a:rPr>
              <a:t>© 2018 Innominds — All rights reserved — Confidential</a:t>
            </a:r>
          </a:p>
        </p:txBody>
      </p:sp>
      <p:sp>
        <p:nvSpPr>
          <p:cNvPr id="2" name="Title 1"/>
          <p:cNvSpPr>
            <a:spLocks noGrp="1"/>
          </p:cNvSpPr>
          <p:nvPr>
            <p:ph type="title"/>
          </p:nvPr>
        </p:nvSpPr>
        <p:spPr>
          <a:xfrm>
            <a:off x="272018" y="67506"/>
            <a:ext cx="11919982" cy="638710"/>
          </a:xfrm>
        </p:spPr>
        <p:txBody>
          <a:bodyPr/>
          <a:lstStyle>
            <a:lvl1pPr>
              <a:defRPr>
                <a:solidFill>
                  <a:schemeClr val="bg1"/>
                </a:solidFill>
              </a:defRPr>
            </a:lvl1pPr>
          </a:lstStyle>
          <a:p>
            <a:r>
              <a:rPr lang="en-US" dirty="0"/>
              <a:t>Click to edit Master title style</a:t>
            </a:r>
          </a:p>
        </p:txBody>
      </p:sp>
      <p:pic>
        <p:nvPicPr>
          <p:cNvPr id="5" name="image10.png"/>
          <p:cNvPicPr>
            <a:picLocks noChangeAspect="1"/>
          </p:cNvPicPr>
          <p:nvPr userDrawn="1"/>
        </p:nvPicPr>
        <p:blipFill>
          <a:blip r:embed="rId2"/>
          <a:stretch>
            <a:fillRect/>
          </a:stretch>
        </p:blipFill>
        <p:spPr>
          <a:xfrm>
            <a:off x="96049" y="6502293"/>
            <a:ext cx="878296" cy="391381"/>
          </a:xfrm>
          <a:prstGeom prst="rect">
            <a:avLst/>
          </a:prstGeom>
          <a:ln w="12700">
            <a:miter lim="400000"/>
            <a:headEnd/>
            <a:tailEnd/>
          </a:ln>
        </p:spPr>
      </p:pic>
      <p:sp>
        <p:nvSpPr>
          <p:cNvPr id="15" name="Shape 145"/>
          <p:cNvSpPr/>
          <p:nvPr userDrawn="1"/>
        </p:nvSpPr>
        <p:spPr>
          <a:xfrm>
            <a:off x="11753902" y="6595065"/>
            <a:ext cx="320123" cy="205826"/>
          </a:xfrm>
          <a:prstGeom prst="rect">
            <a:avLst/>
          </a:prstGeom>
          <a:solidFill>
            <a:srgbClr val="E94924"/>
          </a:solidFill>
          <a:ln w="12700" cap="flat">
            <a:noFill/>
            <a:miter lim="400000"/>
          </a:ln>
          <a:effectLst/>
        </p:spPr>
        <p:txBody>
          <a:bodyPr wrap="square" lIns="54863" tIns="54863" rIns="54863" bIns="54863" numCol="1" anchor="ctr">
            <a:noAutofit/>
          </a:bodyPr>
          <a:lstStyle/>
          <a:p>
            <a:pPr algn="ctr">
              <a:defRPr>
                <a:solidFill>
                  <a:srgbClr val="FFFFFF"/>
                </a:solidFill>
              </a:defRPr>
            </a:pPr>
            <a:fld id="{41B5EDD4-2ADD-0542-B90E-FC6D1AD5AE98}" type="slidenum">
              <a:rPr lang="uk-UA" sz="900" b="1" i="0" smtClean="0">
                <a:latin typeface="Lato Black" charset="0"/>
                <a:ea typeface="Lato Black" charset="0"/>
                <a:cs typeface="Lato Black" charset="0"/>
              </a:rPr>
              <a:t>‹#›</a:t>
            </a:fld>
            <a:endParaRPr sz="900" b="1" i="0" dirty="0">
              <a:latin typeface="Lato Black" charset="0"/>
              <a:ea typeface="Lato Black" charset="0"/>
              <a:cs typeface="Lato Black" charset="0"/>
            </a:endParaRPr>
          </a:p>
        </p:txBody>
      </p:sp>
      <p:cxnSp>
        <p:nvCxnSpPr>
          <p:cNvPr id="4" name="Straight Connector 3"/>
          <p:cNvCxnSpPr/>
          <p:nvPr userDrawn="1"/>
        </p:nvCxnSpPr>
        <p:spPr>
          <a:xfrm>
            <a:off x="1" y="751421"/>
            <a:ext cx="12191999" cy="0"/>
          </a:xfrm>
          <a:prstGeom prst="line">
            <a:avLst/>
          </a:prstGeom>
          <a:noFill/>
          <a:ln w="3175" cap="flat">
            <a:solidFill>
              <a:schemeClr val="bg1"/>
            </a:solidFill>
            <a:prstDash val="solid"/>
            <a:round/>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2933209578"/>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Title with footer">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5DD7B7B-3803-4972-9BFF-48DC0C0C6700}"/>
              </a:ext>
            </a:extLst>
          </p:cNvPr>
          <p:cNvPicPr>
            <a:picLocks noChangeAspect="1"/>
          </p:cNvPicPr>
          <p:nvPr userDrawn="1"/>
        </p:nvPicPr>
        <p:blipFill>
          <a:blip r:embed="rId2">
            <a:clrChange>
              <a:clrFrom>
                <a:srgbClr val="FFFFFF"/>
              </a:clrFrom>
              <a:clrTo>
                <a:srgbClr val="FFFFFF">
                  <a:alpha val="0"/>
                </a:srgbClr>
              </a:clrTo>
            </a:clrChange>
          </a:blip>
          <a:stretch>
            <a:fillRect/>
          </a:stretch>
        </p:blipFill>
        <p:spPr>
          <a:xfrm>
            <a:off x="-11017" y="-1"/>
            <a:ext cx="5233012" cy="6863091"/>
          </a:xfrm>
          <a:prstGeom prst="rect">
            <a:avLst/>
          </a:prstGeom>
        </p:spPr>
      </p:pic>
      <p:sp>
        <p:nvSpPr>
          <p:cNvPr id="11" name="Shape 144">
            <a:extLst>
              <a:ext uri="{FF2B5EF4-FFF2-40B4-BE49-F238E27FC236}">
                <a16:creationId xmlns:a16="http://schemas.microsoft.com/office/drawing/2014/main" id="{C5A479F4-9832-46CD-91A6-4D936197AA64}"/>
              </a:ext>
            </a:extLst>
          </p:cNvPr>
          <p:cNvSpPr/>
          <p:nvPr userDrawn="1"/>
        </p:nvSpPr>
        <p:spPr>
          <a:xfrm>
            <a:off x="954" y="6537960"/>
            <a:ext cx="12190096" cy="320040"/>
          </a:xfrm>
          <a:prstGeom prst="rect">
            <a:avLst/>
          </a:prstGeom>
          <a:solidFill>
            <a:srgbClr val="3D4045"/>
          </a:solidFill>
          <a:ln w="12700">
            <a:miter lim="400000"/>
          </a:ln>
        </p:spPr>
        <p:txBody>
          <a:bodyPr lIns="54863" rIns="54863" anchor="ctr"/>
          <a:lstStyle/>
          <a:p>
            <a:pPr marL="0" marR="0" indent="0" algn="ctr" defTabSz="1097435" rtl="0" eaLnBrk="1" fontAlgn="auto" latinLnBrk="0" hangingPunct="0">
              <a:lnSpc>
                <a:spcPct val="100000"/>
              </a:lnSpc>
              <a:spcBef>
                <a:spcPts val="0"/>
              </a:spcBef>
              <a:spcAft>
                <a:spcPts val="0"/>
              </a:spcAft>
              <a:buClrTx/>
              <a:buSzTx/>
              <a:buFontTx/>
              <a:buNone/>
              <a:tabLst/>
              <a:defRPr>
                <a:solidFill>
                  <a:srgbClr val="FFFFFF"/>
                </a:solidFill>
              </a:defRPr>
            </a:pPr>
            <a:r>
              <a:rPr lang="en-US" sz="1080" b="0" i="0" dirty="0">
                <a:solidFill>
                  <a:schemeClr val="bg1">
                    <a:lumMod val="85000"/>
                  </a:schemeClr>
                </a:solidFill>
                <a:latin typeface="Lato Light" charset="0"/>
                <a:ea typeface="Lato Light" charset="0"/>
                <a:cs typeface="Lato Light" charset="0"/>
              </a:rPr>
              <a:t>© 2018 Innominds — All rights reserved — Confidential</a:t>
            </a:r>
          </a:p>
        </p:txBody>
      </p:sp>
      <p:pic>
        <p:nvPicPr>
          <p:cNvPr id="12" name="image10.png">
            <a:extLst>
              <a:ext uri="{FF2B5EF4-FFF2-40B4-BE49-F238E27FC236}">
                <a16:creationId xmlns:a16="http://schemas.microsoft.com/office/drawing/2014/main" id="{BD94FD0E-F657-46DD-AFCF-3319651D648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6049" y="6502293"/>
            <a:ext cx="878296" cy="391381"/>
          </a:xfrm>
          <a:prstGeom prst="rect">
            <a:avLst/>
          </a:prstGeom>
          <a:ln w="12700">
            <a:miter lim="400000"/>
          </a:ln>
        </p:spPr>
      </p:pic>
      <p:sp>
        <p:nvSpPr>
          <p:cNvPr id="13" name="Shape 145">
            <a:extLst>
              <a:ext uri="{FF2B5EF4-FFF2-40B4-BE49-F238E27FC236}">
                <a16:creationId xmlns:a16="http://schemas.microsoft.com/office/drawing/2014/main" id="{AD9A1B51-FA79-4009-A9B5-7A0C2D13F0E3}"/>
              </a:ext>
            </a:extLst>
          </p:cNvPr>
          <p:cNvSpPr/>
          <p:nvPr userDrawn="1"/>
        </p:nvSpPr>
        <p:spPr>
          <a:xfrm>
            <a:off x="11753902" y="6595065"/>
            <a:ext cx="320123" cy="205826"/>
          </a:xfrm>
          <a:prstGeom prst="rect">
            <a:avLst/>
          </a:prstGeom>
          <a:solidFill>
            <a:srgbClr val="E94924"/>
          </a:solidFill>
          <a:ln w="12700" cap="flat">
            <a:noFill/>
            <a:miter lim="400000"/>
          </a:ln>
          <a:effectLst/>
        </p:spPr>
        <p:txBody>
          <a:bodyPr wrap="square" lIns="54863" tIns="54863" rIns="54863" bIns="54863" numCol="1" anchor="ctr">
            <a:noAutofit/>
          </a:bodyPr>
          <a:lstStyle/>
          <a:p>
            <a:pPr algn="ctr">
              <a:defRPr>
                <a:solidFill>
                  <a:srgbClr val="FFFFFF"/>
                </a:solidFill>
              </a:defRPr>
            </a:pPr>
            <a:fld id="{41B5EDD4-2ADD-0542-B90E-FC6D1AD5AE98}" type="slidenum">
              <a:rPr lang="uk-UA" sz="900" b="1" i="0" smtClean="0">
                <a:latin typeface="Lato Black" charset="0"/>
                <a:ea typeface="Lato Black" charset="0"/>
                <a:cs typeface="Lato Black" charset="0"/>
              </a:rPr>
              <a:t>‹#›</a:t>
            </a:fld>
            <a:endParaRPr sz="900" b="1" i="0" dirty="0">
              <a:latin typeface="Lato Black" charset="0"/>
              <a:ea typeface="Lato Black" charset="0"/>
              <a:cs typeface="Lato Black" charset="0"/>
            </a:endParaRPr>
          </a:p>
        </p:txBody>
      </p:sp>
    </p:spTree>
    <p:extLst>
      <p:ext uri="{BB962C8B-B14F-4D97-AF65-F5344CB8AC3E}">
        <p14:creationId xmlns:p14="http://schemas.microsoft.com/office/powerpoint/2010/main" val="2870463243"/>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with footer">
    <p:spTree>
      <p:nvGrpSpPr>
        <p:cNvPr id="1" name=""/>
        <p:cNvGrpSpPr/>
        <p:nvPr/>
      </p:nvGrpSpPr>
      <p:grpSpPr>
        <a:xfrm>
          <a:off x="0" y="0"/>
          <a:ext cx="0" cy="0"/>
          <a:chOff x="0" y="0"/>
          <a:chExt cx="0" cy="0"/>
        </a:xfrm>
      </p:grpSpPr>
      <p:sp>
        <p:nvSpPr>
          <p:cNvPr id="10" name="Shape 144"/>
          <p:cNvSpPr/>
          <p:nvPr userDrawn="1"/>
        </p:nvSpPr>
        <p:spPr>
          <a:xfrm>
            <a:off x="954" y="6537960"/>
            <a:ext cx="12190096" cy="320040"/>
          </a:xfrm>
          <a:prstGeom prst="rect">
            <a:avLst/>
          </a:prstGeom>
          <a:solidFill>
            <a:srgbClr val="3D4045"/>
          </a:solidFill>
          <a:ln w="12700">
            <a:miter lim="400000"/>
          </a:ln>
        </p:spPr>
        <p:txBody>
          <a:bodyPr lIns="54863" rIns="54863" anchor="ctr"/>
          <a:lstStyle/>
          <a:p>
            <a:pPr marL="0" marR="0" indent="0" algn="ctr" defTabSz="1097435" rtl="0" eaLnBrk="1" fontAlgn="auto" latinLnBrk="0" hangingPunct="0">
              <a:lnSpc>
                <a:spcPct val="100000"/>
              </a:lnSpc>
              <a:spcBef>
                <a:spcPts val="0"/>
              </a:spcBef>
              <a:spcAft>
                <a:spcPts val="0"/>
              </a:spcAft>
              <a:buClrTx/>
              <a:buSzTx/>
              <a:buFontTx/>
              <a:buNone/>
              <a:tabLst/>
              <a:defRPr>
                <a:solidFill>
                  <a:srgbClr val="FFFFFF"/>
                </a:solidFill>
              </a:defRPr>
            </a:pPr>
            <a:r>
              <a:rPr lang="en-US" sz="1080" b="0" i="0" dirty="0">
                <a:solidFill>
                  <a:schemeClr val="bg1">
                    <a:lumMod val="85000"/>
                  </a:schemeClr>
                </a:solidFill>
                <a:latin typeface="Lato Light" charset="0"/>
                <a:ea typeface="Lato Light" charset="0"/>
                <a:cs typeface="Lato Light" charset="0"/>
              </a:rPr>
              <a:t>© 2018 Innominds — All rights reserved — Confidential</a:t>
            </a:r>
          </a:p>
        </p:txBody>
      </p:sp>
      <p:pic>
        <p:nvPicPr>
          <p:cNvPr id="5" name="image10.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049" y="6502293"/>
            <a:ext cx="878296" cy="391381"/>
          </a:xfrm>
          <a:prstGeom prst="rect">
            <a:avLst/>
          </a:prstGeom>
          <a:ln w="12700">
            <a:miter lim="400000"/>
          </a:ln>
        </p:spPr>
      </p:pic>
      <p:sp>
        <p:nvSpPr>
          <p:cNvPr id="15" name="Shape 145"/>
          <p:cNvSpPr/>
          <p:nvPr userDrawn="1"/>
        </p:nvSpPr>
        <p:spPr>
          <a:xfrm>
            <a:off x="11753902" y="6595065"/>
            <a:ext cx="320123" cy="205826"/>
          </a:xfrm>
          <a:prstGeom prst="rect">
            <a:avLst/>
          </a:prstGeom>
          <a:solidFill>
            <a:srgbClr val="E94924"/>
          </a:solidFill>
          <a:ln w="12700" cap="flat">
            <a:noFill/>
            <a:miter lim="400000"/>
          </a:ln>
          <a:effectLst/>
        </p:spPr>
        <p:txBody>
          <a:bodyPr wrap="square" lIns="54863" tIns="54863" rIns="54863" bIns="54863" numCol="1" anchor="ctr">
            <a:noAutofit/>
          </a:bodyPr>
          <a:lstStyle/>
          <a:p>
            <a:pPr algn="ctr">
              <a:defRPr>
                <a:solidFill>
                  <a:srgbClr val="FFFFFF"/>
                </a:solidFill>
              </a:defRPr>
            </a:pPr>
            <a:fld id="{41B5EDD4-2ADD-0542-B90E-FC6D1AD5AE98}" type="slidenum">
              <a:rPr lang="uk-UA" sz="900" b="1" i="0" smtClean="0">
                <a:latin typeface="Lato Black" charset="0"/>
                <a:ea typeface="Lato Black" charset="0"/>
                <a:cs typeface="Lato Black" charset="0"/>
              </a:rPr>
              <a:t>‹#›</a:t>
            </a:fld>
            <a:endParaRPr sz="900" b="1" i="0" dirty="0">
              <a:latin typeface="Lato Black" charset="0"/>
              <a:ea typeface="Lato Black" charset="0"/>
              <a:cs typeface="Lato Black" charset="0"/>
            </a:endParaRPr>
          </a:p>
        </p:txBody>
      </p:sp>
      <p:sp>
        <p:nvSpPr>
          <p:cNvPr id="21" name="Rectangle 20">
            <a:extLst>
              <a:ext uri="{FF2B5EF4-FFF2-40B4-BE49-F238E27FC236}">
                <a16:creationId xmlns:a16="http://schemas.microsoft.com/office/drawing/2014/main" id="{A8248AD5-AD13-9E40-964A-E0FFE3F475ED}"/>
              </a:ext>
            </a:extLst>
          </p:cNvPr>
          <p:cNvSpPr>
            <a:spLocks noChangeArrowheads="1"/>
          </p:cNvSpPr>
          <p:nvPr userDrawn="1"/>
        </p:nvSpPr>
        <p:spPr bwMode="auto">
          <a:xfrm>
            <a:off x="31473" y="32178"/>
            <a:ext cx="9530117" cy="6519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 name="Rectangle 8">
            <a:extLst>
              <a:ext uri="{FF2B5EF4-FFF2-40B4-BE49-F238E27FC236}">
                <a16:creationId xmlns:a16="http://schemas.microsoft.com/office/drawing/2014/main" id="{B3A4476A-2CBF-854F-A0FA-E6418EC0FCF6}"/>
              </a:ext>
            </a:extLst>
          </p:cNvPr>
          <p:cNvSpPr>
            <a:spLocks noChangeArrowheads="1"/>
          </p:cNvSpPr>
          <p:nvPr userDrawn="1"/>
        </p:nvSpPr>
        <p:spPr bwMode="auto">
          <a:xfrm>
            <a:off x="31473" y="32178"/>
            <a:ext cx="9530117" cy="6519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 name="Rectangle 6">
            <a:extLst>
              <a:ext uri="{FF2B5EF4-FFF2-40B4-BE49-F238E27FC236}">
                <a16:creationId xmlns:a16="http://schemas.microsoft.com/office/drawing/2014/main" id="{19B8CF54-1F1E-8741-AB69-4A9AB242E292}"/>
              </a:ext>
            </a:extLst>
          </p:cNvPr>
          <p:cNvSpPr>
            <a:spLocks noChangeArrowheads="1"/>
          </p:cNvSpPr>
          <p:nvPr userDrawn="1"/>
        </p:nvSpPr>
        <p:spPr bwMode="auto">
          <a:xfrm>
            <a:off x="0" y="4"/>
            <a:ext cx="9745247" cy="6498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24" name="Picture 23">
            <a:extLst>
              <a:ext uri="{FF2B5EF4-FFF2-40B4-BE49-F238E27FC236}">
                <a16:creationId xmlns:a16="http://schemas.microsoft.com/office/drawing/2014/main" id="{927118B1-2C13-2A4A-9F28-C24B0AFCE94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0" y="-1"/>
            <a:ext cx="12195176" cy="6539023"/>
          </a:xfrm>
          <a:prstGeom prst="rect">
            <a:avLst/>
          </a:prstGeom>
        </p:spPr>
      </p:pic>
      <p:sp>
        <p:nvSpPr>
          <p:cNvPr id="26" name="Rectangle 25">
            <a:extLst>
              <a:ext uri="{FF2B5EF4-FFF2-40B4-BE49-F238E27FC236}">
                <a16:creationId xmlns:a16="http://schemas.microsoft.com/office/drawing/2014/main" id="{F62B0A99-6D39-C341-A74F-F1CAB9F0EDA9}"/>
              </a:ext>
            </a:extLst>
          </p:cNvPr>
          <p:cNvSpPr/>
          <p:nvPr userDrawn="1"/>
        </p:nvSpPr>
        <p:spPr>
          <a:xfrm>
            <a:off x="1" y="-1"/>
            <a:ext cx="5758832" cy="6539023"/>
          </a:xfrm>
          <a:prstGeom prst="rect">
            <a:avLst/>
          </a:prstGeom>
          <a:solidFill>
            <a:schemeClr val="bg1"/>
          </a:solidFill>
          <a:ln>
            <a:noFill/>
          </a:ln>
          <a:effectLst>
            <a:innerShdw blurRad="38100" dist="254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7" name="Rounded Rectangle 26">
            <a:extLst>
              <a:ext uri="{FF2B5EF4-FFF2-40B4-BE49-F238E27FC236}">
                <a16:creationId xmlns:a16="http://schemas.microsoft.com/office/drawing/2014/main" id="{B5CE8016-84C4-4C4A-B650-07E47C617EA9}"/>
              </a:ext>
            </a:extLst>
          </p:cNvPr>
          <p:cNvSpPr/>
          <p:nvPr userDrawn="1"/>
        </p:nvSpPr>
        <p:spPr>
          <a:xfrm>
            <a:off x="297691" y="457200"/>
            <a:ext cx="5144971" cy="5796844"/>
          </a:xfrm>
          <a:prstGeom prst="roundRect">
            <a:avLst>
              <a:gd name="adj" fmla="val 823"/>
            </a:avLst>
          </a:prstGeom>
          <a:noFill/>
          <a:ln w="3175">
            <a:solidFill>
              <a:srgbClr val="E76B1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083645019"/>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Title with footer">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23636D-1E74-48DB-8AC2-25D66ABDFB40}"/>
              </a:ext>
            </a:extLst>
          </p:cNvPr>
          <p:cNvPicPr>
            <a:picLocks noChangeAspect="1"/>
          </p:cNvPicPr>
          <p:nvPr userDrawn="1"/>
        </p:nvPicPr>
        <p:blipFill>
          <a:blip r:embed="rId2"/>
          <a:stretch>
            <a:fillRect/>
          </a:stretch>
        </p:blipFill>
        <p:spPr>
          <a:xfrm>
            <a:off x="11016" y="-1"/>
            <a:ext cx="12190095" cy="6828215"/>
          </a:xfrm>
          <a:prstGeom prst="rect">
            <a:avLst/>
          </a:prstGeom>
        </p:spPr>
      </p:pic>
      <p:sp>
        <p:nvSpPr>
          <p:cNvPr id="10" name="Shape 144"/>
          <p:cNvSpPr/>
          <p:nvPr userDrawn="1"/>
        </p:nvSpPr>
        <p:spPr>
          <a:xfrm>
            <a:off x="954" y="6537960"/>
            <a:ext cx="12190096" cy="320040"/>
          </a:xfrm>
          <a:prstGeom prst="rect">
            <a:avLst/>
          </a:prstGeom>
          <a:solidFill>
            <a:srgbClr val="3D4045"/>
          </a:solidFill>
          <a:ln w="12700">
            <a:miter lim="400000"/>
          </a:ln>
        </p:spPr>
        <p:txBody>
          <a:bodyPr lIns="54863" rIns="54863" anchor="ctr"/>
          <a:lstStyle/>
          <a:p>
            <a:pPr marL="0" marR="0" indent="0" algn="ctr" defTabSz="1097435" rtl="0" eaLnBrk="1" fontAlgn="auto" latinLnBrk="0" hangingPunct="0">
              <a:lnSpc>
                <a:spcPct val="100000"/>
              </a:lnSpc>
              <a:spcBef>
                <a:spcPts val="0"/>
              </a:spcBef>
              <a:spcAft>
                <a:spcPts val="0"/>
              </a:spcAft>
              <a:buClrTx/>
              <a:buSzTx/>
              <a:buFontTx/>
              <a:buNone/>
              <a:tabLst/>
              <a:defRPr>
                <a:solidFill>
                  <a:srgbClr val="FFFFFF"/>
                </a:solidFill>
              </a:defRPr>
            </a:pPr>
            <a:r>
              <a:rPr lang="en-US" sz="1080" b="0" i="0" dirty="0">
                <a:solidFill>
                  <a:schemeClr val="bg1">
                    <a:lumMod val="85000"/>
                  </a:schemeClr>
                </a:solidFill>
                <a:latin typeface="Lato Light" charset="0"/>
                <a:ea typeface="Lato Light" charset="0"/>
                <a:cs typeface="Lato Light" charset="0"/>
              </a:rPr>
              <a:t>© 2018 Innominds — All rights reserved — Confidential</a:t>
            </a:r>
          </a:p>
        </p:txBody>
      </p:sp>
      <p:pic>
        <p:nvPicPr>
          <p:cNvPr id="5" name="image10.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6049" y="6502293"/>
            <a:ext cx="878296" cy="391381"/>
          </a:xfrm>
          <a:prstGeom prst="rect">
            <a:avLst/>
          </a:prstGeom>
          <a:ln w="12700">
            <a:miter lim="400000"/>
          </a:ln>
        </p:spPr>
      </p:pic>
      <p:sp>
        <p:nvSpPr>
          <p:cNvPr id="15" name="Shape 145"/>
          <p:cNvSpPr/>
          <p:nvPr userDrawn="1"/>
        </p:nvSpPr>
        <p:spPr>
          <a:xfrm>
            <a:off x="11753902" y="6595065"/>
            <a:ext cx="320123" cy="205826"/>
          </a:xfrm>
          <a:prstGeom prst="rect">
            <a:avLst/>
          </a:prstGeom>
          <a:solidFill>
            <a:srgbClr val="E94924"/>
          </a:solidFill>
          <a:ln w="12700" cap="flat">
            <a:noFill/>
            <a:miter lim="400000"/>
          </a:ln>
          <a:effectLst/>
        </p:spPr>
        <p:txBody>
          <a:bodyPr wrap="square" lIns="54863" tIns="54863" rIns="54863" bIns="54863" numCol="1" anchor="ctr">
            <a:noAutofit/>
          </a:bodyPr>
          <a:lstStyle/>
          <a:p>
            <a:pPr algn="ctr">
              <a:defRPr>
                <a:solidFill>
                  <a:srgbClr val="FFFFFF"/>
                </a:solidFill>
              </a:defRPr>
            </a:pPr>
            <a:fld id="{41B5EDD4-2ADD-0542-B90E-FC6D1AD5AE98}" type="slidenum">
              <a:rPr lang="uk-UA" sz="900" b="1" i="0" smtClean="0">
                <a:latin typeface="Lato Black" charset="0"/>
                <a:ea typeface="Lato Black" charset="0"/>
                <a:cs typeface="Lato Black" charset="0"/>
              </a:rPr>
              <a:t>‹#›</a:t>
            </a:fld>
            <a:endParaRPr sz="900" b="1" i="0" dirty="0">
              <a:latin typeface="Lato Black" charset="0"/>
              <a:ea typeface="Lato Black" charset="0"/>
              <a:cs typeface="Lato Black" charset="0"/>
            </a:endParaRPr>
          </a:p>
        </p:txBody>
      </p:sp>
      <p:sp>
        <p:nvSpPr>
          <p:cNvPr id="21" name="Rectangle 20">
            <a:extLst>
              <a:ext uri="{FF2B5EF4-FFF2-40B4-BE49-F238E27FC236}">
                <a16:creationId xmlns:a16="http://schemas.microsoft.com/office/drawing/2014/main" id="{A8248AD5-AD13-9E40-964A-E0FFE3F475ED}"/>
              </a:ext>
            </a:extLst>
          </p:cNvPr>
          <p:cNvSpPr>
            <a:spLocks noChangeArrowheads="1"/>
          </p:cNvSpPr>
          <p:nvPr userDrawn="1"/>
        </p:nvSpPr>
        <p:spPr bwMode="auto">
          <a:xfrm>
            <a:off x="31473" y="32178"/>
            <a:ext cx="9530117" cy="6519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 name="Rectangle 8">
            <a:extLst>
              <a:ext uri="{FF2B5EF4-FFF2-40B4-BE49-F238E27FC236}">
                <a16:creationId xmlns:a16="http://schemas.microsoft.com/office/drawing/2014/main" id="{B3A4476A-2CBF-854F-A0FA-E6418EC0FCF6}"/>
              </a:ext>
            </a:extLst>
          </p:cNvPr>
          <p:cNvSpPr>
            <a:spLocks noChangeArrowheads="1"/>
          </p:cNvSpPr>
          <p:nvPr userDrawn="1"/>
        </p:nvSpPr>
        <p:spPr bwMode="auto">
          <a:xfrm>
            <a:off x="31473" y="32178"/>
            <a:ext cx="9530117" cy="6519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 name="Rectangle 6">
            <a:extLst>
              <a:ext uri="{FF2B5EF4-FFF2-40B4-BE49-F238E27FC236}">
                <a16:creationId xmlns:a16="http://schemas.microsoft.com/office/drawing/2014/main" id="{19B8CF54-1F1E-8741-AB69-4A9AB242E292}"/>
              </a:ext>
            </a:extLst>
          </p:cNvPr>
          <p:cNvSpPr>
            <a:spLocks noChangeArrowheads="1"/>
          </p:cNvSpPr>
          <p:nvPr userDrawn="1"/>
        </p:nvSpPr>
        <p:spPr bwMode="auto">
          <a:xfrm>
            <a:off x="0" y="4"/>
            <a:ext cx="9745247" cy="6498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 name="Rectangle 25">
            <a:extLst>
              <a:ext uri="{FF2B5EF4-FFF2-40B4-BE49-F238E27FC236}">
                <a16:creationId xmlns:a16="http://schemas.microsoft.com/office/drawing/2014/main" id="{F62B0A99-6D39-C341-A74F-F1CAB9F0EDA9}"/>
              </a:ext>
            </a:extLst>
          </p:cNvPr>
          <p:cNvSpPr/>
          <p:nvPr userDrawn="1"/>
        </p:nvSpPr>
        <p:spPr>
          <a:xfrm>
            <a:off x="1" y="1"/>
            <a:ext cx="5758832" cy="6539022"/>
          </a:xfrm>
          <a:prstGeom prst="rect">
            <a:avLst/>
          </a:prstGeom>
          <a:solidFill>
            <a:schemeClr val="bg1"/>
          </a:solidFill>
          <a:ln>
            <a:noFill/>
          </a:ln>
          <a:effectLst>
            <a:innerShdw blurRad="38100" dist="254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7" name="Rounded Rectangle 26">
            <a:extLst>
              <a:ext uri="{FF2B5EF4-FFF2-40B4-BE49-F238E27FC236}">
                <a16:creationId xmlns:a16="http://schemas.microsoft.com/office/drawing/2014/main" id="{B5CE8016-84C4-4C4A-B650-07E47C617EA9}"/>
              </a:ext>
            </a:extLst>
          </p:cNvPr>
          <p:cNvSpPr/>
          <p:nvPr userDrawn="1"/>
        </p:nvSpPr>
        <p:spPr>
          <a:xfrm>
            <a:off x="297691" y="457200"/>
            <a:ext cx="5144971" cy="5796844"/>
          </a:xfrm>
          <a:prstGeom prst="roundRect">
            <a:avLst>
              <a:gd name="adj" fmla="val 823"/>
            </a:avLst>
          </a:prstGeom>
          <a:noFill/>
          <a:ln w="3175">
            <a:solidFill>
              <a:srgbClr val="E76B1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489342067"/>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Shape 144"/>
          <p:cNvSpPr/>
          <p:nvPr userDrawn="1"/>
        </p:nvSpPr>
        <p:spPr>
          <a:xfrm>
            <a:off x="954" y="6537960"/>
            <a:ext cx="12190096" cy="320040"/>
          </a:xfrm>
          <a:prstGeom prst="rect">
            <a:avLst/>
          </a:prstGeom>
          <a:solidFill>
            <a:srgbClr val="3D4045"/>
          </a:solidFill>
          <a:ln w="12700">
            <a:miter lim="400000"/>
          </a:ln>
        </p:spPr>
        <p:txBody>
          <a:bodyPr lIns="54863" rIns="54863" anchor="ctr"/>
          <a:lstStyle/>
          <a:p>
            <a:pPr algn="ctr" defTabSz="1097435" hangingPunct="0">
              <a:defRPr>
                <a:solidFill>
                  <a:srgbClr val="FFFFFF"/>
                </a:solidFill>
              </a:defRPr>
            </a:pPr>
            <a:r>
              <a:rPr lang="en-US" sz="1080" kern="0" dirty="0">
                <a:solidFill>
                  <a:srgbClr val="FFFFFF">
                    <a:lumMod val="85000"/>
                  </a:srgbClr>
                </a:solidFill>
                <a:latin typeface="Lato Light" charset="0"/>
                <a:ea typeface="Lato Light" charset="0"/>
                <a:cs typeface="Lato Light" charset="0"/>
                <a:sym typeface="Arial"/>
              </a:rPr>
              <a:t>© 2018 Innominds — All rights reserved — Confidential</a:t>
            </a:r>
          </a:p>
        </p:txBody>
      </p:sp>
      <p:pic>
        <p:nvPicPr>
          <p:cNvPr id="4" name="image10.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049" y="6502293"/>
            <a:ext cx="878296" cy="391381"/>
          </a:xfrm>
          <a:prstGeom prst="rect">
            <a:avLst/>
          </a:prstGeom>
          <a:ln w="12700">
            <a:miter lim="400000"/>
          </a:ln>
        </p:spPr>
      </p:pic>
      <p:sp>
        <p:nvSpPr>
          <p:cNvPr id="5" name="Shape 145"/>
          <p:cNvSpPr/>
          <p:nvPr userDrawn="1"/>
        </p:nvSpPr>
        <p:spPr>
          <a:xfrm>
            <a:off x="11753902" y="6595065"/>
            <a:ext cx="320123" cy="205826"/>
          </a:xfrm>
          <a:prstGeom prst="rect">
            <a:avLst/>
          </a:prstGeom>
          <a:solidFill>
            <a:srgbClr val="E94924"/>
          </a:solidFill>
          <a:ln w="12700" cap="flat">
            <a:noFill/>
            <a:miter lim="400000"/>
          </a:ln>
          <a:effectLst/>
        </p:spPr>
        <p:txBody>
          <a:bodyPr wrap="square" lIns="54863" tIns="54863" rIns="54863" bIns="54863" numCol="1" anchor="ctr">
            <a:noAutofit/>
          </a:bodyPr>
          <a:lstStyle/>
          <a:p>
            <a:pPr algn="ctr" defTabSz="1218804" hangingPunct="0">
              <a:defRPr>
                <a:solidFill>
                  <a:srgbClr val="FFFFFF"/>
                </a:solidFill>
              </a:defRPr>
            </a:pPr>
            <a:fld id="{41B5EDD4-2ADD-0542-B90E-FC6D1AD5AE98}" type="slidenum">
              <a:rPr lang="uk-UA" sz="900" b="1" kern="0" smtClean="0">
                <a:solidFill>
                  <a:srgbClr val="FFFFFF"/>
                </a:solidFill>
                <a:latin typeface="Lato Black" charset="0"/>
                <a:ea typeface="Lato Black" charset="0"/>
                <a:cs typeface="Lato Black" charset="0"/>
                <a:sym typeface="Arial"/>
              </a:rPr>
              <a:pPr algn="ctr" defTabSz="1218804" hangingPunct="0">
                <a:defRPr>
                  <a:solidFill>
                    <a:srgbClr val="FFFFFF"/>
                  </a:solidFill>
                </a:defRPr>
              </a:pPr>
              <a:t>‹#›</a:t>
            </a:fld>
            <a:endParaRPr sz="900" b="1" kern="0" dirty="0">
              <a:solidFill>
                <a:srgbClr val="FFFFFF"/>
              </a:solidFill>
              <a:latin typeface="Lato Black" charset="0"/>
              <a:ea typeface="Lato Black" charset="0"/>
              <a:cs typeface="Lato Black" charset="0"/>
              <a:sym typeface="Arial"/>
            </a:endParaRPr>
          </a:p>
        </p:txBody>
      </p:sp>
      <p:pic>
        <p:nvPicPr>
          <p:cNvPr id="12" name="Picture 11">
            <a:extLst>
              <a:ext uri="{FF2B5EF4-FFF2-40B4-BE49-F238E27FC236}">
                <a16:creationId xmlns:a16="http://schemas.microsoft.com/office/drawing/2014/main" id="{9450F5D9-F9AA-0D42-8C43-5141398C5DF9}"/>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26963"/>
            <a:ext cx="12195176" cy="6555354"/>
          </a:xfrm>
          <a:prstGeom prst="rect">
            <a:avLst/>
          </a:prstGeom>
        </p:spPr>
      </p:pic>
      <p:sp>
        <p:nvSpPr>
          <p:cNvPr id="13" name="Rectangle 12">
            <a:extLst>
              <a:ext uri="{FF2B5EF4-FFF2-40B4-BE49-F238E27FC236}">
                <a16:creationId xmlns:a16="http://schemas.microsoft.com/office/drawing/2014/main" id="{E78C0BC9-081D-CB48-8853-1073A6E9BAC3}"/>
              </a:ext>
            </a:extLst>
          </p:cNvPr>
          <p:cNvSpPr/>
          <p:nvPr userDrawn="1"/>
        </p:nvSpPr>
        <p:spPr>
          <a:xfrm>
            <a:off x="7274565" y="93786"/>
            <a:ext cx="4920611" cy="850525"/>
          </a:xfrm>
          <a:prstGeom prst="rect">
            <a:avLst/>
          </a:prstGeom>
          <a:gradFill flip="none" rotWithShape="1">
            <a:gsLst>
              <a:gs pos="0">
                <a:schemeClr val="bg1">
                  <a:alpha val="0"/>
                </a:schemeClr>
              </a:gs>
              <a:gs pos="15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804" hangingPunct="0"/>
            <a:endParaRPr lang="en-US" sz="1866" kern="0" dirty="0">
              <a:solidFill>
                <a:srgbClr val="FFFFFF"/>
              </a:solidFill>
              <a:sym typeface="Arial"/>
            </a:endParaRPr>
          </a:p>
        </p:txBody>
      </p:sp>
      <p:grpSp>
        <p:nvGrpSpPr>
          <p:cNvPr id="14" name="Group 13">
            <a:extLst>
              <a:ext uri="{FF2B5EF4-FFF2-40B4-BE49-F238E27FC236}">
                <a16:creationId xmlns:a16="http://schemas.microsoft.com/office/drawing/2014/main" id="{391039C9-212A-7644-B2B2-547CCF322769}"/>
              </a:ext>
            </a:extLst>
          </p:cNvPr>
          <p:cNvGrpSpPr/>
          <p:nvPr userDrawn="1"/>
        </p:nvGrpSpPr>
        <p:grpSpPr>
          <a:xfrm>
            <a:off x="8286242" y="222240"/>
            <a:ext cx="3377876" cy="642791"/>
            <a:chOff x="7574824" y="183647"/>
            <a:chExt cx="4690729" cy="892852"/>
          </a:xfrm>
        </p:grpSpPr>
        <p:sp>
          <p:nvSpPr>
            <p:cNvPr id="15" name="Shape 79">
              <a:extLst>
                <a:ext uri="{FF2B5EF4-FFF2-40B4-BE49-F238E27FC236}">
                  <a16:creationId xmlns:a16="http://schemas.microsoft.com/office/drawing/2014/main" id="{6F900F05-E5C1-F945-BC57-2103D78990B8}"/>
                </a:ext>
              </a:extLst>
            </p:cNvPr>
            <p:cNvSpPr/>
            <p:nvPr/>
          </p:nvSpPr>
          <p:spPr>
            <a:xfrm>
              <a:off x="7574824" y="852056"/>
              <a:ext cx="4690729" cy="224443"/>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lvl1pPr>
                <a:defRPr sz="1700">
                  <a:solidFill>
                    <a:srgbClr val="FFFFFF"/>
                  </a:solidFill>
                  <a:latin typeface="Lato Thin"/>
                  <a:ea typeface="Lato Thin"/>
                  <a:cs typeface="Lato Thin"/>
                  <a:sym typeface="Lato Thin"/>
                </a:defRPr>
              </a:lvl1pPr>
            </a:lstStyle>
            <a:p>
              <a:pPr algn="ctr" defTabSz="1218804" hangingPunct="0"/>
              <a:r>
                <a:rPr lang="en-US" sz="1050" b="1" kern="0" spc="400" dirty="0">
                  <a:solidFill>
                    <a:srgbClr val="FFFFFF">
                      <a:lumMod val="75000"/>
                    </a:srgbClr>
                  </a:solidFill>
                  <a:latin typeface="Lato" charset="0"/>
                  <a:ea typeface="Lato" charset="0"/>
                  <a:cs typeface="Lato" charset="0"/>
                </a:rPr>
                <a:t>ENGINEERING INNOVATION</a:t>
              </a:r>
              <a:endParaRPr sz="1050" b="1" kern="0" spc="400" dirty="0">
                <a:solidFill>
                  <a:srgbClr val="FFFFFF">
                    <a:lumMod val="75000"/>
                  </a:srgbClr>
                </a:solidFill>
                <a:latin typeface="Lato" charset="0"/>
                <a:ea typeface="Lato" charset="0"/>
                <a:cs typeface="Lato" charset="0"/>
              </a:endParaRPr>
            </a:p>
          </p:txBody>
        </p:sp>
        <p:pic>
          <p:nvPicPr>
            <p:cNvPr id="16" name="Picture 15">
              <a:extLst>
                <a:ext uri="{FF2B5EF4-FFF2-40B4-BE49-F238E27FC236}">
                  <a16:creationId xmlns:a16="http://schemas.microsoft.com/office/drawing/2014/main" id="{47CADB70-E7D1-564C-B001-12EDA7B4B3E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319989" y="183647"/>
              <a:ext cx="3200400" cy="575596"/>
            </a:xfrm>
            <a:prstGeom prst="rect">
              <a:avLst/>
            </a:prstGeom>
          </p:spPr>
        </p:pic>
      </p:grpSp>
      <p:sp>
        <p:nvSpPr>
          <p:cNvPr id="19" name="Rectangle 18">
            <a:extLst>
              <a:ext uri="{FF2B5EF4-FFF2-40B4-BE49-F238E27FC236}">
                <a16:creationId xmlns:a16="http://schemas.microsoft.com/office/drawing/2014/main" id="{B6A3BB45-A8A0-3A42-9F08-2E388E0B5D54}"/>
              </a:ext>
            </a:extLst>
          </p:cNvPr>
          <p:cNvSpPr/>
          <p:nvPr userDrawn="1"/>
        </p:nvSpPr>
        <p:spPr>
          <a:xfrm>
            <a:off x="7274565" y="1052792"/>
            <a:ext cx="4920611" cy="850525"/>
          </a:xfrm>
          <a:prstGeom prst="rect">
            <a:avLst/>
          </a:prstGeom>
          <a:gradFill flip="none" rotWithShape="1">
            <a:gsLst>
              <a:gs pos="0">
                <a:schemeClr val="bg1">
                  <a:alpha val="0"/>
                </a:schemeClr>
              </a:gs>
              <a:gs pos="15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804" hangingPunct="0"/>
            <a:endParaRPr lang="en-US" sz="1866" kern="0" dirty="0">
              <a:solidFill>
                <a:srgbClr val="FFFFFF"/>
              </a:solidFill>
              <a:sym typeface="Arial"/>
            </a:endParaRPr>
          </a:p>
        </p:txBody>
      </p:sp>
      <p:pic>
        <p:nvPicPr>
          <p:cNvPr id="20" name="Picture 19">
            <a:extLst>
              <a:ext uri="{FF2B5EF4-FFF2-40B4-BE49-F238E27FC236}">
                <a16:creationId xmlns:a16="http://schemas.microsoft.com/office/drawing/2014/main" id="{1BBDE8AE-B4A2-4A42-AE0C-03896C2697ED}"/>
              </a:ext>
            </a:extLst>
          </p:cNvPr>
          <p:cNvPicPr>
            <a:picLocks noChangeAspect="1"/>
          </p:cNvPicPr>
          <p:nvPr userDrawn="1"/>
        </p:nvPicPr>
        <p:blipFill>
          <a:blip r:embed="rId5"/>
          <a:stretch>
            <a:fillRect/>
          </a:stretch>
        </p:blipFill>
        <p:spPr>
          <a:xfrm>
            <a:off x="8585901" y="1249923"/>
            <a:ext cx="2778556" cy="425934"/>
          </a:xfrm>
          <a:prstGeom prst="rect">
            <a:avLst/>
          </a:prstGeom>
        </p:spPr>
      </p:pic>
    </p:spTree>
    <p:extLst>
      <p:ext uri="{BB962C8B-B14F-4D97-AF65-F5344CB8AC3E}">
        <p14:creationId xmlns:p14="http://schemas.microsoft.com/office/powerpoint/2010/main" val="454020005"/>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with footer">
    <p:spTree>
      <p:nvGrpSpPr>
        <p:cNvPr id="1" name=""/>
        <p:cNvGrpSpPr/>
        <p:nvPr/>
      </p:nvGrpSpPr>
      <p:grpSpPr>
        <a:xfrm>
          <a:off x="0" y="0"/>
          <a:ext cx="0" cy="0"/>
          <a:chOff x="0" y="0"/>
          <a:chExt cx="0" cy="0"/>
        </a:xfrm>
      </p:grpSpPr>
      <p:sp>
        <p:nvSpPr>
          <p:cNvPr id="10" name="Shape 144"/>
          <p:cNvSpPr/>
          <p:nvPr userDrawn="1"/>
        </p:nvSpPr>
        <p:spPr>
          <a:xfrm>
            <a:off x="954" y="6537960"/>
            <a:ext cx="12190096" cy="320040"/>
          </a:xfrm>
          <a:prstGeom prst="rect">
            <a:avLst/>
          </a:prstGeom>
          <a:solidFill>
            <a:srgbClr val="3D4045"/>
          </a:solidFill>
          <a:ln w="12700">
            <a:miter lim="400000"/>
          </a:ln>
        </p:spPr>
        <p:txBody>
          <a:bodyPr lIns="54863" rIns="54863" anchor="ctr"/>
          <a:lstStyle/>
          <a:p>
            <a:pPr algn="ctr" defTabSz="1097435" hangingPunct="0">
              <a:defRPr>
                <a:solidFill>
                  <a:srgbClr val="FFFFFF"/>
                </a:solidFill>
              </a:defRPr>
            </a:pPr>
            <a:r>
              <a:rPr lang="en-US" sz="1080" kern="0" dirty="0">
                <a:solidFill>
                  <a:srgbClr val="FFFFFF">
                    <a:lumMod val="85000"/>
                  </a:srgbClr>
                </a:solidFill>
                <a:latin typeface="Lato Light" charset="0"/>
                <a:ea typeface="Lato Light" charset="0"/>
                <a:cs typeface="Lato Light" charset="0"/>
                <a:sym typeface="Arial"/>
              </a:rPr>
              <a:t>© 2018 Innominds — All rights reserved — Confidential</a:t>
            </a:r>
          </a:p>
        </p:txBody>
      </p:sp>
      <p:pic>
        <p:nvPicPr>
          <p:cNvPr id="5" name="image10.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049" y="6502293"/>
            <a:ext cx="878296" cy="391381"/>
          </a:xfrm>
          <a:prstGeom prst="rect">
            <a:avLst/>
          </a:prstGeom>
          <a:ln w="12700">
            <a:miter lim="400000"/>
          </a:ln>
        </p:spPr>
      </p:pic>
      <p:sp>
        <p:nvSpPr>
          <p:cNvPr id="15" name="Shape 145"/>
          <p:cNvSpPr/>
          <p:nvPr userDrawn="1"/>
        </p:nvSpPr>
        <p:spPr>
          <a:xfrm>
            <a:off x="11753902" y="6595065"/>
            <a:ext cx="320123" cy="205826"/>
          </a:xfrm>
          <a:prstGeom prst="rect">
            <a:avLst/>
          </a:prstGeom>
          <a:solidFill>
            <a:srgbClr val="E94924"/>
          </a:solidFill>
          <a:ln w="12700" cap="flat">
            <a:noFill/>
            <a:miter lim="400000"/>
          </a:ln>
          <a:effectLst/>
        </p:spPr>
        <p:txBody>
          <a:bodyPr wrap="square" lIns="54863" tIns="54863" rIns="54863" bIns="54863" numCol="1" anchor="ctr">
            <a:noAutofit/>
          </a:bodyPr>
          <a:lstStyle/>
          <a:p>
            <a:pPr algn="ctr" defTabSz="1218804" hangingPunct="0">
              <a:defRPr>
                <a:solidFill>
                  <a:srgbClr val="FFFFFF"/>
                </a:solidFill>
              </a:defRPr>
            </a:pPr>
            <a:fld id="{41B5EDD4-2ADD-0542-B90E-FC6D1AD5AE98}" type="slidenum">
              <a:rPr lang="uk-UA" sz="900" b="1" kern="0" smtClean="0">
                <a:solidFill>
                  <a:srgbClr val="FFFFFF"/>
                </a:solidFill>
                <a:latin typeface="Lato Black" charset="0"/>
                <a:ea typeface="Lato Black" charset="0"/>
                <a:cs typeface="Lato Black" charset="0"/>
                <a:sym typeface="Arial"/>
              </a:rPr>
              <a:pPr algn="ctr" defTabSz="1218804" hangingPunct="0">
                <a:defRPr>
                  <a:solidFill>
                    <a:srgbClr val="FFFFFF"/>
                  </a:solidFill>
                </a:defRPr>
              </a:pPr>
              <a:t>‹#›</a:t>
            </a:fld>
            <a:endParaRPr sz="900" b="1" kern="0" dirty="0">
              <a:solidFill>
                <a:srgbClr val="FFFFFF"/>
              </a:solidFill>
              <a:latin typeface="Lato Black" charset="0"/>
              <a:ea typeface="Lato Black" charset="0"/>
              <a:cs typeface="Lato Black" charset="0"/>
              <a:sym typeface="Arial"/>
            </a:endParaRPr>
          </a:p>
        </p:txBody>
      </p:sp>
      <p:sp>
        <p:nvSpPr>
          <p:cNvPr id="9" name="Rectangle 8">
            <a:extLst>
              <a:ext uri="{FF2B5EF4-FFF2-40B4-BE49-F238E27FC236}">
                <a16:creationId xmlns:a16="http://schemas.microsoft.com/office/drawing/2014/main" id="{4A855E4C-495D-D84E-A57F-115FADDE187D}"/>
              </a:ext>
            </a:extLst>
          </p:cNvPr>
          <p:cNvSpPr>
            <a:spLocks noChangeArrowheads="1"/>
          </p:cNvSpPr>
          <p:nvPr userDrawn="1"/>
        </p:nvSpPr>
        <p:spPr bwMode="auto">
          <a:xfrm>
            <a:off x="31473" y="32178"/>
            <a:ext cx="9530117" cy="6519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en-US" sz="1800" dirty="0">
              <a:solidFill>
                <a:prstClr val="black"/>
              </a:solidFill>
              <a:latin typeface="Calibri"/>
              <a:sym typeface="Arial"/>
            </a:endParaRPr>
          </a:p>
        </p:txBody>
      </p:sp>
      <p:sp>
        <p:nvSpPr>
          <p:cNvPr id="11" name="Rectangle 8">
            <a:extLst>
              <a:ext uri="{FF2B5EF4-FFF2-40B4-BE49-F238E27FC236}">
                <a16:creationId xmlns:a16="http://schemas.microsoft.com/office/drawing/2014/main" id="{6380F237-9531-6D4D-B7A9-DEE6374D1FD2}"/>
              </a:ext>
            </a:extLst>
          </p:cNvPr>
          <p:cNvSpPr>
            <a:spLocks noChangeArrowheads="1"/>
          </p:cNvSpPr>
          <p:nvPr userDrawn="1"/>
        </p:nvSpPr>
        <p:spPr bwMode="auto">
          <a:xfrm>
            <a:off x="31473" y="32178"/>
            <a:ext cx="9530117" cy="6519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en-US" sz="1800" dirty="0">
              <a:solidFill>
                <a:prstClr val="black"/>
              </a:solidFill>
              <a:latin typeface="Calibri"/>
              <a:sym typeface="Arial"/>
            </a:endParaRPr>
          </a:p>
        </p:txBody>
      </p:sp>
      <p:sp>
        <p:nvSpPr>
          <p:cNvPr id="12" name="Rectangle 6">
            <a:extLst>
              <a:ext uri="{FF2B5EF4-FFF2-40B4-BE49-F238E27FC236}">
                <a16:creationId xmlns:a16="http://schemas.microsoft.com/office/drawing/2014/main" id="{8324324F-E57B-7947-9197-9EE9616FC170}"/>
              </a:ext>
            </a:extLst>
          </p:cNvPr>
          <p:cNvSpPr>
            <a:spLocks noChangeArrowheads="1"/>
          </p:cNvSpPr>
          <p:nvPr userDrawn="1"/>
        </p:nvSpPr>
        <p:spPr bwMode="auto">
          <a:xfrm>
            <a:off x="0" y="4"/>
            <a:ext cx="9745247" cy="6498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en-US" sz="1800" dirty="0">
              <a:solidFill>
                <a:prstClr val="black"/>
              </a:solidFill>
              <a:latin typeface="Calibri"/>
              <a:sym typeface="Arial"/>
            </a:endParaRPr>
          </a:p>
        </p:txBody>
      </p:sp>
      <p:pic>
        <p:nvPicPr>
          <p:cNvPr id="13" name="Picture 12">
            <a:extLst>
              <a:ext uri="{FF2B5EF4-FFF2-40B4-BE49-F238E27FC236}">
                <a16:creationId xmlns:a16="http://schemas.microsoft.com/office/drawing/2014/main" id="{D6063634-8823-4F45-A8B2-33C6375BB87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1"/>
            <a:ext cx="12195176" cy="6539023"/>
          </a:xfrm>
          <a:prstGeom prst="rect">
            <a:avLst/>
          </a:prstGeom>
        </p:spPr>
      </p:pic>
      <p:sp>
        <p:nvSpPr>
          <p:cNvPr id="16" name="Rectangle 15">
            <a:extLst>
              <a:ext uri="{FF2B5EF4-FFF2-40B4-BE49-F238E27FC236}">
                <a16:creationId xmlns:a16="http://schemas.microsoft.com/office/drawing/2014/main" id="{176DEDE3-D599-154E-86B4-74B8B213A486}"/>
              </a:ext>
            </a:extLst>
          </p:cNvPr>
          <p:cNvSpPr/>
          <p:nvPr userDrawn="1"/>
        </p:nvSpPr>
        <p:spPr>
          <a:xfrm>
            <a:off x="1" y="-1"/>
            <a:ext cx="5758832" cy="6539023"/>
          </a:xfrm>
          <a:prstGeom prst="rect">
            <a:avLst/>
          </a:prstGeom>
          <a:solidFill>
            <a:schemeClr val="bg1"/>
          </a:solidFill>
          <a:ln>
            <a:noFill/>
          </a:ln>
          <a:effectLst>
            <a:innerShdw blurRad="38100" dist="254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804" hangingPunct="0"/>
            <a:endParaRPr lang="en-US" sz="1866" kern="0" dirty="0">
              <a:solidFill>
                <a:srgbClr val="FFFFFF"/>
              </a:solidFill>
              <a:sym typeface="Arial"/>
            </a:endParaRPr>
          </a:p>
        </p:txBody>
      </p:sp>
      <p:sp>
        <p:nvSpPr>
          <p:cNvPr id="17" name="Rounded Rectangle 16">
            <a:extLst>
              <a:ext uri="{FF2B5EF4-FFF2-40B4-BE49-F238E27FC236}">
                <a16:creationId xmlns:a16="http://schemas.microsoft.com/office/drawing/2014/main" id="{94AB365E-CB9D-C243-ADC0-D3F02964894C}"/>
              </a:ext>
            </a:extLst>
          </p:cNvPr>
          <p:cNvSpPr/>
          <p:nvPr userDrawn="1"/>
        </p:nvSpPr>
        <p:spPr>
          <a:xfrm>
            <a:off x="297691" y="457200"/>
            <a:ext cx="5144971" cy="5796844"/>
          </a:xfrm>
          <a:prstGeom prst="roundRect">
            <a:avLst>
              <a:gd name="adj" fmla="val 823"/>
            </a:avLst>
          </a:prstGeom>
          <a:noFill/>
          <a:ln w="3175">
            <a:solidFill>
              <a:srgbClr val="E76B1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sz="1800" dirty="0">
              <a:solidFill>
                <a:prstClr val="white"/>
              </a:solidFill>
              <a:latin typeface="Calibri"/>
              <a:sym typeface="Arial"/>
            </a:endParaRPr>
          </a:p>
        </p:txBody>
      </p:sp>
    </p:spTree>
    <p:extLst>
      <p:ext uri="{BB962C8B-B14F-4D97-AF65-F5344CB8AC3E}">
        <p14:creationId xmlns:p14="http://schemas.microsoft.com/office/powerpoint/2010/main" val="231218934"/>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with footer">
    <p:spTree>
      <p:nvGrpSpPr>
        <p:cNvPr id="1" name=""/>
        <p:cNvGrpSpPr/>
        <p:nvPr/>
      </p:nvGrpSpPr>
      <p:grpSpPr>
        <a:xfrm>
          <a:off x="0" y="0"/>
          <a:ext cx="0" cy="0"/>
          <a:chOff x="0" y="0"/>
          <a:chExt cx="0" cy="0"/>
        </a:xfrm>
      </p:grpSpPr>
      <p:sp>
        <p:nvSpPr>
          <p:cNvPr id="6" name="Freeform 5"/>
          <p:cNvSpPr/>
          <p:nvPr userDrawn="1"/>
        </p:nvSpPr>
        <p:spPr>
          <a:xfrm>
            <a:off x="1" y="1"/>
            <a:ext cx="11423267" cy="773723"/>
          </a:xfrm>
          <a:custGeom>
            <a:avLst/>
            <a:gdLst>
              <a:gd name="connsiteX0" fmla="*/ 0 w 11420292"/>
              <a:gd name="connsiteY0" fmla="*/ 0 h 773723"/>
              <a:gd name="connsiteX1" fmla="*/ 10933740 w 11420292"/>
              <a:gd name="connsiteY1" fmla="*/ 0 h 773723"/>
              <a:gd name="connsiteX2" fmla="*/ 11420292 w 11420292"/>
              <a:gd name="connsiteY2" fmla="*/ 773723 h 773723"/>
              <a:gd name="connsiteX3" fmla="*/ 0 w 11420292"/>
              <a:gd name="connsiteY3" fmla="*/ 773723 h 773723"/>
            </a:gdLst>
            <a:ahLst/>
            <a:cxnLst>
              <a:cxn ang="0">
                <a:pos x="connsiteX0" y="connsiteY0"/>
              </a:cxn>
              <a:cxn ang="0">
                <a:pos x="connsiteX1" y="connsiteY1"/>
              </a:cxn>
              <a:cxn ang="0">
                <a:pos x="connsiteX2" y="connsiteY2"/>
              </a:cxn>
              <a:cxn ang="0">
                <a:pos x="connsiteX3" y="connsiteY3"/>
              </a:cxn>
            </a:cxnLst>
            <a:rect l="l" t="t" r="r" b="b"/>
            <a:pathLst>
              <a:path w="11420292" h="773723">
                <a:moveTo>
                  <a:pt x="0" y="0"/>
                </a:moveTo>
                <a:lnTo>
                  <a:pt x="10933740" y="0"/>
                </a:lnTo>
                <a:lnTo>
                  <a:pt x="11420292" y="773723"/>
                </a:lnTo>
                <a:lnTo>
                  <a:pt x="0" y="773723"/>
                </a:lnTo>
                <a:close/>
              </a:path>
            </a:pathLst>
          </a:custGeom>
          <a:solidFill>
            <a:srgbClr val="E76B17"/>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fromWordArt="0" anchor="ctr" anchorCtr="0" forceAA="0" compatLnSpc="1">
            <a:noAutofit/>
          </a:bodyPr>
          <a:lstStyle/>
          <a:p>
            <a:pPr hangingPunct="0"/>
            <a:endParaRPr lang="en-US" sz="1400" kern="0" dirty="0">
              <a:solidFill>
                <a:srgbClr val="000000"/>
              </a:solidFill>
              <a:sym typeface="Arial"/>
            </a:endParaRPr>
          </a:p>
        </p:txBody>
      </p:sp>
      <p:sp>
        <p:nvSpPr>
          <p:cNvPr id="7" name="Freeform 6"/>
          <p:cNvSpPr/>
          <p:nvPr userDrawn="1"/>
        </p:nvSpPr>
        <p:spPr>
          <a:xfrm flipH="1" flipV="1">
            <a:off x="11118618" y="1"/>
            <a:ext cx="1073382" cy="773723"/>
          </a:xfrm>
          <a:custGeom>
            <a:avLst/>
            <a:gdLst>
              <a:gd name="connsiteX0" fmla="*/ 1073102 w 1073102"/>
              <a:gd name="connsiteY0" fmla="*/ 773723 h 773723"/>
              <a:gd name="connsiteX1" fmla="*/ 0 w 1073102"/>
              <a:gd name="connsiteY1" fmla="*/ 773723 h 773723"/>
              <a:gd name="connsiteX2" fmla="*/ 0 w 1073102"/>
              <a:gd name="connsiteY2" fmla="*/ 0 h 773723"/>
              <a:gd name="connsiteX3" fmla="*/ 586550 w 1073102"/>
              <a:gd name="connsiteY3" fmla="*/ 0 h 773723"/>
            </a:gdLst>
            <a:ahLst/>
            <a:cxnLst>
              <a:cxn ang="0">
                <a:pos x="connsiteX0" y="connsiteY0"/>
              </a:cxn>
              <a:cxn ang="0">
                <a:pos x="connsiteX1" y="connsiteY1"/>
              </a:cxn>
              <a:cxn ang="0">
                <a:pos x="connsiteX2" y="connsiteY2"/>
              </a:cxn>
              <a:cxn ang="0">
                <a:pos x="connsiteX3" y="connsiteY3"/>
              </a:cxn>
            </a:cxnLst>
            <a:rect l="l" t="t" r="r" b="b"/>
            <a:pathLst>
              <a:path w="1073102" h="773723">
                <a:moveTo>
                  <a:pt x="1073102" y="773723"/>
                </a:moveTo>
                <a:lnTo>
                  <a:pt x="0" y="773723"/>
                </a:lnTo>
                <a:lnTo>
                  <a:pt x="0" y="0"/>
                </a:lnTo>
                <a:lnTo>
                  <a:pt x="586550" y="0"/>
                </a:lnTo>
                <a:close/>
              </a:path>
            </a:pathLst>
          </a:custGeom>
          <a:solidFill>
            <a:srgbClr val="FFC00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fromWordArt="0" anchor="ctr" anchorCtr="0" forceAA="0" compatLnSpc="1">
            <a:noAutofit/>
          </a:bodyPr>
          <a:lstStyle/>
          <a:p>
            <a:pPr hangingPunct="0"/>
            <a:endParaRPr lang="en-US" sz="1400" kern="0" dirty="0">
              <a:solidFill>
                <a:srgbClr val="000000"/>
              </a:solidFill>
              <a:sym typeface="Arial"/>
            </a:endParaRPr>
          </a:p>
        </p:txBody>
      </p:sp>
      <p:sp>
        <p:nvSpPr>
          <p:cNvPr id="10" name="Shape 144"/>
          <p:cNvSpPr/>
          <p:nvPr userDrawn="1"/>
        </p:nvSpPr>
        <p:spPr>
          <a:xfrm>
            <a:off x="954" y="6537960"/>
            <a:ext cx="12190096" cy="320040"/>
          </a:xfrm>
          <a:prstGeom prst="rect">
            <a:avLst/>
          </a:prstGeom>
          <a:solidFill>
            <a:srgbClr val="3D4045"/>
          </a:solidFill>
          <a:ln w="12700">
            <a:miter lim="400000"/>
          </a:ln>
        </p:spPr>
        <p:txBody>
          <a:bodyPr lIns="54863" rIns="54863" anchor="ctr"/>
          <a:lstStyle/>
          <a:p>
            <a:pPr algn="ctr" defTabSz="1097435" hangingPunct="0">
              <a:defRPr>
                <a:solidFill>
                  <a:srgbClr val="FFFFFF"/>
                </a:solidFill>
              </a:defRPr>
            </a:pPr>
            <a:r>
              <a:rPr lang="en-US" sz="1080" kern="0" dirty="0">
                <a:solidFill>
                  <a:srgbClr val="FFFFFF">
                    <a:lumMod val="85000"/>
                  </a:srgbClr>
                </a:solidFill>
                <a:latin typeface="Lato Light" charset="0"/>
                <a:ea typeface="Lato Light" charset="0"/>
                <a:cs typeface="Lato Light" charset="0"/>
                <a:sym typeface="Arial"/>
              </a:rPr>
              <a:t>© 2018 Innominds — All rights reserved — Confidential</a:t>
            </a:r>
          </a:p>
        </p:txBody>
      </p:sp>
      <p:sp>
        <p:nvSpPr>
          <p:cNvPr id="2" name="Title 1"/>
          <p:cNvSpPr>
            <a:spLocks noGrp="1"/>
          </p:cNvSpPr>
          <p:nvPr>
            <p:ph type="title"/>
          </p:nvPr>
        </p:nvSpPr>
        <p:spPr>
          <a:xfrm>
            <a:off x="272018" y="67506"/>
            <a:ext cx="11919982" cy="638710"/>
          </a:xfrm>
        </p:spPr>
        <p:txBody>
          <a:bodyPr>
            <a:normAutofit/>
          </a:bodyPr>
          <a:lstStyle>
            <a:lvl1pPr>
              <a:defRPr sz="2800">
                <a:solidFill>
                  <a:schemeClr val="bg1"/>
                </a:solidFill>
              </a:defRPr>
            </a:lvl1pPr>
          </a:lstStyle>
          <a:p>
            <a:r>
              <a:rPr lang="en-US" dirty="0"/>
              <a:t>Click to edit Master title style</a:t>
            </a:r>
          </a:p>
        </p:txBody>
      </p:sp>
      <p:pic>
        <p:nvPicPr>
          <p:cNvPr id="5" name="image10.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049" y="6502293"/>
            <a:ext cx="878296" cy="391381"/>
          </a:xfrm>
          <a:prstGeom prst="rect">
            <a:avLst/>
          </a:prstGeom>
          <a:ln w="12700">
            <a:miter lim="400000"/>
          </a:ln>
        </p:spPr>
      </p:pic>
      <p:sp>
        <p:nvSpPr>
          <p:cNvPr id="15" name="Shape 145"/>
          <p:cNvSpPr/>
          <p:nvPr userDrawn="1"/>
        </p:nvSpPr>
        <p:spPr>
          <a:xfrm>
            <a:off x="11753902" y="6595065"/>
            <a:ext cx="320123" cy="205826"/>
          </a:xfrm>
          <a:prstGeom prst="rect">
            <a:avLst/>
          </a:prstGeom>
          <a:solidFill>
            <a:srgbClr val="E94924"/>
          </a:solidFill>
          <a:ln w="12700" cap="flat">
            <a:noFill/>
            <a:miter lim="400000"/>
          </a:ln>
          <a:effectLst/>
        </p:spPr>
        <p:txBody>
          <a:bodyPr wrap="square" lIns="54863" tIns="54863" rIns="54863" bIns="54863" numCol="1" anchor="ctr">
            <a:noAutofit/>
          </a:bodyPr>
          <a:lstStyle/>
          <a:p>
            <a:pPr algn="ctr" defTabSz="1218804" hangingPunct="0">
              <a:defRPr>
                <a:solidFill>
                  <a:srgbClr val="FFFFFF"/>
                </a:solidFill>
              </a:defRPr>
            </a:pPr>
            <a:fld id="{41B5EDD4-2ADD-0542-B90E-FC6D1AD5AE98}" type="slidenum">
              <a:rPr lang="uk-UA" sz="900" b="1" kern="0" smtClean="0">
                <a:solidFill>
                  <a:srgbClr val="FFFFFF"/>
                </a:solidFill>
                <a:latin typeface="Lato Black" charset="0"/>
                <a:ea typeface="Lato Black" charset="0"/>
                <a:cs typeface="Lato Black" charset="0"/>
                <a:sym typeface="Arial"/>
              </a:rPr>
              <a:pPr algn="ctr" defTabSz="1218804" hangingPunct="0">
                <a:defRPr>
                  <a:solidFill>
                    <a:srgbClr val="FFFFFF"/>
                  </a:solidFill>
                </a:defRPr>
              </a:pPr>
              <a:t>‹#›</a:t>
            </a:fld>
            <a:endParaRPr sz="900" b="1" kern="0" dirty="0">
              <a:solidFill>
                <a:srgbClr val="FFFFFF"/>
              </a:solidFill>
              <a:latin typeface="Lato Black" charset="0"/>
              <a:ea typeface="Lato Black" charset="0"/>
              <a:cs typeface="Lato Black" charset="0"/>
              <a:sym typeface="Arial"/>
            </a:endParaRPr>
          </a:p>
        </p:txBody>
      </p:sp>
      <p:cxnSp>
        <p:nvCxnSpPr>
          <p:cNvPr id="4" name="Straight Connector 3"/>
          <p:cNvCxnSpPr/>
          <p:nvPr userDrawn="1"/>
        </p:nvCxnSpPr>
        <p:spPr>
          <a:xfrm>
            <a:off x="1" y="751421"/>
            <a:ext cx="12191999" cy="0"/>
          </a:xfrm>
          <a:prstGeom prst="line">
            <a:avLst/>
          </a:prstGeom>
          <a:noFill/>
          <a:ln w="3175" cap="flat">
            <a:solidFill>
              <a:schemeClr val="bg1"/>
            </a:solidFill>
            <a:prstDash val="solid"/>
            <a:round/>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3515129333"/>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A0D746-1A18-4F36-8886-8159525C054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7CA2C92-8891-4DE7-A1DE-A67CDADC617F}"/>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E654EC9-CDAF-4E66-B974-466F30E273A8}"/>
              </a:ext>
            </a:extLst>
          </p:cNvPr>
          <p:cNvSpPr>
            <a:spLocks noGrp="1"/>
          </p:cNvSpPr>
          <p:nvPr>
            <p:ph type="dt" sz="half" idx="10"/>
          </p:nvPr>
        </p:nvSpPr>
        <p:spPr/>
        <p:txBody>
          <a:bodyPr/>
          <a:lstStyle/>
          <a:p>
            <a:fld id="{3E316B11-C070-45EB-847B-0666F96AFBE7}" type="datetimeFigureOut">
              <a:rPr lang="en-US" smtClean="0"/>
              <a:t>11/1/2018</a:t>
            </a:fld>
            <a:endParaRPr lang="en-US" dirty="0"/>
          </a:p>
        </p:txBody>
      </p:sp>
      <p:sp>
        <p:nvSpPr>
          <p:cNvPr id="5" name="Footer Placeholder 4">
            <a:extLst>
              <a:ext uri="{FF2B5EF4-FFF2-40B4-BE49-F238E27FC236}">
                <a16:creationId xmlns:a16="http://schemas.microsoft.com/office/drawing/2014/main" id="{583EAD6D-2EA6-4E6E-B122-86B9692B0EA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44AC606-8118-401E-9CF6-C1DE55C1948A}"/>
              </a:ext>
            </a:extLst>
          </p:cNvPr>
          <p:cNvSpPr>
            <a:spLocks noGrp="1"/>
          </p:cNvSpPr>
          <p:nvPr>
            <p:ph type="sldNum" sz="quarter" idx="12"/>
          </p:nvPr>
        </p:nvSpPr>
        <p:spPr/>
        <p:txBody>
          <a:bodyPr/>
          <a:lstStyle/>
          <a:p>
            <a:fld id="{E3A441B9-75B9-44B5-89DD-FE49CF310A47}" type="slidenum">
              <a:rPr lang="en-US" smtClean="0"/>
              <a:t>‹#›</a:t>
            </a:fld>
            <a:endParaRPr lang="en-US" dirty="0"/>
          </a:p>
        </p:txBody>
      </p:sp>
    </p:spTree>
    <p:extLst>
      <p:ext uri="{BB962C8B-B14F-4D97-AF65-F5344CB8AC3E}">
        <p14:creationId xmlns:p14="http://schemas.microsoft.com/office/powerpoint/2010/main" val="29149402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with footer">
    <p:spTree>
      <p:nvGrpSpPr>
        <p:cNvPr id="1" name=""/>
        <p:cNvGrpSpPr/>
        <p:nvPr/>
      </p:nvGrpSpPr>
      <p:grpSpPr>
        <a:xfrm>
          <a:off x="0" y="0"/>
          <a:ext cx="0" cy="0"/>
          <a:chOff x="0" y="0"/>
          <a:chExt cx="0" cy="0"/>
        </a:xfrm>
      </p:grpSpPr>
      <p:sp>
        <p:nvSpPr>
          <p:cNvPr id="6" name="Freeform 5"/>
          <p:cNvSpPr/>
          <p:nvPr userDrawn="1"/>
        </p:nvSpPr>
        <p:spPr>
          <a:xfrm>
            <a:off x="1" y="1"/>
            <a:ext cx="11423267" cy="773723"/>
          </a:xfrm>
          <a:custGeom>
            <a:avLst/>
            <a:gdLst>
              <a:gd name="connsiteX0" fmla="*/ 0 w 11420292"/>
              <a:gd name="connsiteY0" fmla="*/ 0 h 773723"/>
              <a:gd name="connsiteX1" fmla="*/ 10933740 w 11420292"/>
              <a:gd name="connsiteY1" fmla="*/ 0 h 773723"/>
              <a:gd name="connsiteX2" fmla="*/ 11420292 w 11420292"/>
              <a:gd name="connsiteY2" fmla="*/ 773723 h 773723"/>
              <a:gd name="connsiteX3" fmla="*/ 0 w 11420292"/>
              <a:gd name="connsiteY3" fmla="*/ 773723 h 773723"/>
            </a:gdLst>
            <a:ahLst/>
            <a:cxnLst>
              <a:cxn ang="0">
                <a:pos x="connsiteX0" y="connsiteY0"/>
              </a:cxn>
              <a:cxn ang="0">
                <a:pos x="connsiteX1" y="connsiteY1"/>
              </a:cxn>
              <a:cxn ang="0">
                <a:pos x="connsiteX2" y="connsiteY2"/>
              </a:cxn>
              <a:cxn ang="0">
                <a:pos x="connsiteX3" y="connsiteY3"/>
              </a:cxn>
            </a:cxnLst>
            <a:rect l="l" t="t" r="r" b="b"/>
            <a:pathLst>
              <a:path w="11420292" h="773723">
                <a:moveTo>
                  <a:pt x="0" y="0"/>
                </a:moveTo>
                <a:lnTo>
                  <a:pt x="10933740" y="0"/>
                </a:lnTo>
                <a:lnTo>
                  <a:pt x="11420292" y="773723"/>
                </a:lnTo>
                <a:lnTo>
                  <a:pt x="0" y="773723"/>
                </a:lnTo>
                <a:close/>
              </a:path>
            </a:pathLst>
          </a:custGeom>
          <a:solidFill>
            <a:srgbClr val="E76B17"/>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fromWordArt="0" anchor="ctr" anchorCtr="0" forceAA="0" compatLnSpc="1">
            <a:noAutofit/>
          </a:bodyPr>
          <a:lstStyle/>
          <a:p>
            <a:pPr hangingPunct="0"/>
            <a:endParaRPr lang="en-US" sz="1400" kern="0" dirty="0">
              <a:solidFill>
                <a:srgbClr val="000000"/>
              </a:solidFill>
              <a:sym typeface="Arial"/>
            </a:endParaRPr>
          </a:p>
        </p:txBody>
      </p:sp>
      <p:sp>
        <p:nvSpPr>
          <p:cNvPr id="7" name="Freeform 6"/>
          <p:cNvSpPr/>
          <p:nvPr userDrawn="1"/>
        </p:nvSpPr>
        <p:spPr>
          <a:xfrm flipH="1" flipV="1">
            <a:off x="11118618" y="1"/>
            <a:ext cx="1073382" cy="773723"/>
          </a:xfrm>
          <a:custGeom>
            <a:avLst/>
            <a:gdLst>
              <a:gd name="connsiteX0" fmla="*/ 1073102 w 1073102"/>
              <a:gd name="connsiteY0" fmla="*/ 773723 h 773723"/>
              <a:gd name="connsiteX1" fmla="*/ 0 w 1073102"/>
              <a:gd name="connsiteY1" fmla="*/ 773723 h 773723"/>
              <a:gd name="connsiteX2" fmla="*/ 0 w 1073102"/>
              <a:gd name="connsiteY2" fmla="*/ 0 h 773723"/>
              <a:gd name="connsiteX3" fmla="*/ 586550 w 1073102"/>
              <a:gd name="connsiteY3" fmla="*/ 0 h 773723"/>
            </a:gdLst>
            <a:ahLst/>
            <a:cxnLst>
              <a:cxn ang="0">
                <a:pos x="connsiteX0" y="connsiteY0"/>
              </a:cxn>
              <a:cxn ang="0">
                <a:pos x="connsiteX1" y="connsiteY1"/>
              </a:cxn>
              <a:cxn ang="0">
                <a:pos x="connsiteX2" y="connsiteY2"/>
              </a:cxn>
              <a:cxn ang="0">
                <a:pos x="connsiteX3" y="connsiteY3"/>
              </a:cxn>
            </a:cxnLst>
            <a:rect l="l" t="t" r="r" b="b"/>
            <a:pathLst>
              <a:path w="1073102" h="773723">
                <a:moveTo>
                  <a:pt x="1073102" y="773723"/>
                </a:moveTo>
                <a:lnTo>
                  <a:pt x="0" y="773723"/>
                </a:lnTo>
                <a:lnTo>
                  <a:pt x="0" y="0"/>
                </a:lnTo>
                <a:lnTo>
                  <a:pt x="586550" y="0"/>
                </a:lnTo>
                <a:close/>
              </a:path>
            </a:pathLst>
          </a:custGeom>
          <a:solidFill>
            <a:srgbClr val="FFC00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fromWordArt="0" anchor="ctr" anchorCtr="0" forceAA="0" compatLnSpc="1">
            <a:noAutofit/>
          </a:bodyPr>
          <a:lstStyle/>
          <a:p>
            <a:pPr hangingPunct="0"/>
            <a:endParaRPr lang="en-US" sz="1400" kern="0" dirty="0">
              <a:solidFill>
                <a:srgbClr val="000000"/>
              </a:solidFill>
              <a:sym typeface="Arial"/>
            </a:endParaRPr>
          </a:p>
        </p:txBody>
      </p:sp>
      <p:sp>
        <p:nvSpPr>
          <p:cNvPr id="10" name="Shape 144"/>
          <p:cNvSpPr/>
          <p:nvPr userDrawn="1"/>
        </p:nvSpPr>
        <p:spPr>
          <a:xfrm>
            <a:off x="954" y="6537960"/>
            <a:ext cx="12190096" cy="320040"/>
          </a:xfrm>
          <a:prstGeom prst="rect">
            <a:avLst/>
          </a:prstGeom>
          <a:solidFill>
            <a:srgbClr val="3D4045"/>
          </a:solidFill>
          <a:ln w="12700">
            <a:miter lim="400000"/>
          </a:ln>
        </p:spPr>
        <p:txBody>
          <a:bodyPr lIns="54863" rIns="54863" anchor="ctr"/>
          <a:lstStyle/>
          <a:p>
            <a:pPr algn="ctr" defTabSz="1097435" hangingPunct="0">
              <a:defRPr>
                <a:solidFill>
                  <a:srgbClr val="FFFFFF"/>
                </a:solidFill>
              </a:defRPr>
            </a:pPr>
            <a:r>
              <a:rPr lang="en-US" sz="1080" kern="0" dirty="0">
                <a:solidFill>
                  <a:srgbClr val="FFFFFF">
                    <a:lumMod val="85000"/>
                  </a:srgbClr>
                </a:solidFill>
                <a:latin typeface="Lato Light" charset="0"/>
                <a:ea typeface="Lato Light" charset="0"/>
                <a:cs typeface="Lato Light" charset="0"/>
                <a:sym typeface="Arial"/>
              </a:rPr>
              <a:t>© 2018 Innominds — All rights reserved — Confidential</a:t>
            </a:r>
          </a:p>
        </p:txBody>
      </p:sp>
      <p:sp>
        <p:nvSpPr>
          <p:cNvPr id="2" name="Title 1"/>
          <p:cNvSpPr>
            <a:spLocks noGrp="1"/>
          </p:cNvSpPr>
          <p:nvPr>
            <p:ph type="title"/>
          </p:nvPr>
        </p:nvSpPr>
        <p:spPr>
          <a:xfrm>
            <a:off x="272018" y="67506"/>
            <a:ext cx="11919982" cy="638710"/>
          </a:xfrm>
        </p:spPr>
        <p:txBody>
          <a:bodyPr>
            <a:normAutofit/>
          </a:bodyPr>
          <a:lstStyle>
            <a:lvl1pPr>
              <a:defRPr sz="2800">
                <a:solidFill>
                  <a:schemeClr val="bg1"/>
                </a:solidFill>
              </a:defRPr>
            </a:lvl1pPr>
          </a:lstStyle>
          <a:p>
            <a:r>
              <a:rPr lang="en-US" dirty="0"/>
              <a:t>Click to edit Master title style</a:t>
            </a:r>
          </a:p>
        </p:txBody>
      </p:sp>
      <p:pic>
        <p:nvPicPr>
          <p:cNvPr id="5" name="image10.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049" y="6502293"/>
            <a:ext cx="878296" cy="391381"/>
          </a:xfrm>
          <a:prstGeom prst="rect">
            <a:avLst/>
          </a:prstGeom>
          <a:ln w="12700">
            <a:miter lim="400000"/>
          </a:ln>
        </p:spPr>
      </p:pic>
      <p:sp>
        <p:nvSpPr>
          <p:cNvPr id="15" name="Shape 145"/>
          <p:cNvSpPr/>
          <p:nvPr userDrawn="1"/>
        </p:nvSpPr>
        <p:spPr>
          <a:xfrm>
            <a:off x="11753902" y="6595065"/>
            <a:ext cx="320123" cy="205826"/>
          </a:xfrm>
          <a:prstGeom prst="rect">
            <a:avLst/>
          </a:prstGeom>
          <a:solidFill>
            <a:srgbClr val="E94924"/>
          </a:solidFill>
          <a:ln w="12700" cap="flat">
            <a:noFill/>
            <a:miter lim="400000"/>
          </a:ln>
          <a:effectLst/>
        </p:spPr>
        <p:txBody>
          <a:bodyPr wrap="square" lIns="54863" tIns="54863" rIns="54863" bIns="54863" numCol="1" anchor="ctr">
            <a:noAutofit/>
          </a:bodyPr>
          <a:lstStyle/>
          <a:p>
            <a:pPr algn="ctr" defTabSz="1218804" hangingPunct="0">
              <a:defRPr>
                <a:solidFill>
                  <a:srgbClr val="FFFFFF"/>
                </a:solidFill>
              </a:defRPr>
            </a:pPr>
            <a:fld id="{41B5EDD4-2ADD-0542-B90E-FC6D1AD5AE98}" type="slidenum">
              <a:rPr lang="uk-UA" sz="900" b="1" kern="0" smtClean="0">
                <a:solidFill>
                  <a:srgbClr val="FFFFFF"/>
                </a:solidFill>
                <a:latin typeface="Lato Black" charset="0"/>
                <a:ea typeface="Lato Black" charset="0"/>
                <a:cs typeface="Lato Black" charset="0"/>
                <a:sym typeface="Arial"/>
              </a:rPr>
              <a:pPr algn="ctr" defTabSz="1218804" hangingPunct="0">
                <a:defRPr>
                  <a:solidFill>
                    <a:srgbClr val="FFFFFF"/>
                  </a:solidFill>
                </a:defRPr>
              </a:pPr>
              <a:t>‹#›</a:t>
            </a:fld>
            <a:endParaRPr sz="900" b="1" kern="0" dirty="0">
              <a:solidFill>
                <a:srgbClr val="FFFFFF"/>
              </a:solidFill>
              <a:latin typeface="Lato Black" charset="0"/>
              <a:ea typeface="Lato Black" charset="0"/>
              <a:cs typeface="Lato Black" charset="0"/>
              <a:sym typeface="Arial"/>
            </a:endParaRPr>
          </a:p>
        </p:txBody>
      </p:sp>
      <p:cxnSp>
        <p:nvCxnSpPr>
          <p:cNvPr id="4" name="Straight Connector 3"/>
          <p:cNvCxnSpPr/>
          <p:nvPr userDrawn="1"/>
        </p:nvCxnSpPr>
        <p:spPr>
          <a:xfrm>
            <a:off x="1" y="751421"/>
            <a:ext cx="12191999" cy="0"/>
          </a:xfrm>
          <a:prstGeom prst="line">
            <a:avLst/>
          </a:prstGeom>
          <a:noFill/>
          <a:ln w="3175" cap="flat">
            <a:solidFill>
              <a:schemeClr val="bg1"/>
            </a:solidFill>
            <a:prstDash val="solid"/>
            <a:round/>
          </a:ln>
          <a:effectLst/>
          <a:sp3d/>
        </p:spPr>
        <p:style>
          <a:lnRef idx="0">
            <a:scrgbClr r="0" g="0" b="0"/>
          </a:lnRef>
          <a:fillRef idx="0">
            <a:scrgbClr r="0" g="0" b="0"/>
          </a:fillRef>
          <a:effectRef idx="0">
            <a:scrgbClr r="0" g="0" b="0"/>
          </a:effectRef>
          <a:fontRef idx="none"/>
        </p:style>
      </p:cxn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t="11284" b="4752"/>
          <a:stretch/>
        </p:blipFill>
        <p:spPr>
          <a:xfrm>
            <a:off x="-2" y="784874"/>
            <a:ext cx="12195177" cy="5741936"/>
          </a:xfrm>
          <a:prstGeom prst="rect">
            <a:avLst/>
          </a:prstGeom>
        </p:spPr>
      </p:pic>
    </p:spTree>
    <p:extLst>
      <p:ext uri="{BB962C8B-B14F-4D97-AF65-F5344CB8AC3E}">
        <p14:creationId xmlns:p14="http://schemas.microsoft.com/office/powerpoint/2010/main" val="2580438274"/>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Title with footer">
    <p:spTree>
      <p:nvGrpSpPr>
        <p:cNvPr id="1" name=""/>
        <p:cNvGrpSpPr/>
        <p:nvPr/>
      </p:nvGrpSpPr>
      <p:grpSpPr>
        <a:xfrm>
          <a:off x="0" y="0"/>
          <a:ext cx="0" cy="0"/>
          <a:chOff x="0" y="0"/>
          <a:chExt cx="0" cy="0"/>
        </a:xfrm>
      </p:grpSpPr>
      <p:sp>
        <p:nvSpPr>
          <p:cNvPr id="10" name="Shape 144"/>
          <p:cNvSpPr/>
          <p:nvPr userDrawn="1"/>
        </p:nvSpPr>
        <p:spPr>
          <a:xfrm>
            <a:off x="954" y="6537960"/>
            <a:ext cx="12190096" cy="320040"/>
          </a:xfrm>
          <a:prstGeom prst="rect">
            <a:avLst/>
          </a:prstGeom>
          <a:solidFill>
            <a:srgbClr val="3D4045"/>
          </a:solidFill>
          <a:ln w="12700">
            <a:miter lim="400000"/>
          </a:ln>
        </p:spPr>
        <p:txBody>
          <a:bodyPr lIns="54863" rIns="54863" anchor="ctr"/>
          <a:lstStyle/>
          <a:p>
            <a:pPr algn="ctr" defTabSz="1097435" hangingPunct="0">
              <a:defRPr>
                <a:solidFill>
                  <a:srgbClr val="FFFFFF"/>
                </a:solidFill>
              </a:defRPr>
            </a:pPr>
            <a:r>
              <a:rPr lang="en-US" sz="1080" kern="0" dirty="0">
                <a:solidFill>
                  <a:srgbClr val="FFFFFF">
                    <a:lumMod val="85000"/>
                  </a:srgbClr>
                </a:solidFill>
                <a:latin typeface="Lato Light" charset="0"/>
                <a:ea typeface="Lato Light" charset="0"/>
                <a:cs typeface="Lato Light" charset="0"/>
                <a:sym typeface="Arial"/>
              </a:rPr>
              <a:t>© 2018 Innominds — All rights reserved — Confidential</a:t>
            </a:r>
          </a:p>
        </p:txBody>
      </p:sp>
      <p:pic>
        <p:nvPicPr>
          <p:cNvPr id="5" name="image10.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049" y="6502293"/>
            <a:ext cx="878296" cy="391381"/>
          </a:xfrm>
          <a:prstGeom prst="rect">
            <a:avLst/>
          </a:prstGeom>
          <a:ln w="12700">
            <a:miter lim="400000"/>
          </a:ln>
        </p:spPr>
      </p:pic>
      <p:sp>
        <p:nvSpPr>
          <p:cNvPr id="15" name="Shape 145"/>
          <p:cNvSpPr/>
          <p:nvPr userDrawn="1"/>
        </p:nvSpPr>
        <p:spPr>
          <a:xfrm>
            <a:off x="11753902" y="6595065"/>
            <a:ext cx="320123" cy="205826"/>
          </a:xfrm>
          <a:prstGeom prst="rect">
            <a:avLst/>
          </a:prstGeom>
          <a:solidFill>
            <a:srgbClr val="E94924"/>
          </a:solidFill>
          <a:ln w="12700" cap="flat">
            <a:noFill/>
            <a:miter lim="400000"/>
          </a:ln>
          <a:effectLst/>
        </p:spPr>
        <p:txBody>
          <a:bodyPr wrap="square" lIns="54863" tIns="54863" rIns="54863" bIns="54863" numCol="1" anchor="ctr">
            <a:noAutofit/>
          </a:bodyPr>
          <a:lstStyle/>
          <a:p>
            <a:pPr algn="ctr" defTabSz="1218804" hangingPunct="0">
              <a:defRPr>
                <a:solidFill>
                  <a:srgbClr val="FFFFFF"/>
                </a:solidFill>
              </a:defRPr>
            </a:pPr>
            <a:fld id="{41B5EDD4-2ADD-0542-B90E-FC6D1AD5AE98}" type="slidenum">
              <a:rPr lang="uk-UA" sz="900" b="1" kern="0" smtClean="0">
                <a:solidFill>
                  <a:srgbClr val="FFFFFF"/>
                </a:solidFill>
                <a:latin typeface="Lato Black" charset="0"/>
                <a:ea typeface="Lato Black" charset="0"/>
                <a:cs typeface="Lato Black" charset="0"/>
                <a:sym typeface="Arial"/>
              </a:rPr>
              <a:pPr algn="ctr" defTabSz="1218804" hangingPunct="0">
                <a:defRPr>
                  <a:solidFill>
                    <a:srgbClr val="FFFFFF"/>
                  </a:solidFill>
                </a:defRPr>
              </a:pPr>
              <a:t>‹#›</a:t>
            </a:fld>
            <a:endParaRPr sz="900" b="1" kern="0" dirty="0">
              <a:solidFill>
                <a:srgbClr val="FFFFFF"/>
              </a:solidFill>
              <a:latin typeface="Lato Black" charset="0"/>
              <a:ea typeface="Lato Black" charset="0"/>
              <a:cs typeface="Lato Black" charset="0"/>
              <a:sym typeface="Aria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t="-192" b="4752"/>
          <a:stretch/>
        </p:blipFill>
        <p:spPr>
          <a:xfrm>
            <a:off x="-2" y="0"/>
            <a:ext cx="12195177" cy="6526810"/>
          </a:xfrm>
          <a:prstGeom prst="rect">
            <a:avLst/>
          </a:prstGeom>
        </p:spPr>
      </p:pic>
      <p:sp>
        <p:nvSpPr>
          <p:cNvPr id="11" name="Rectangle 10"/>
          <p:cNvSpPr/>
          <p:nvPr userDrawn="1"/>
        </p:nvSpPr>
        <p:spPr>
          <a:xfrm>
            <a:off x="1" y="10625"/>
            <a:ext cx="12192000" cy="6498305"/>
          </a:xfrm>
          <a:prstGeom prst="rect">
            <a:avLst/>
          </a:prstGeom>
          <a:solidFill>
            <a:srgbClr val="FFFFFF">
              <a:alpha val="40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hangingPunct="0"/>
            <a:endParaRPr lang="en-US" sz="1400" kern="0" dirty="0">
              <a:solidFill>
                <a:srgbClr val="000000"/>
              </a:solidFill>
              <a:sym typeface="Arial"/>
            </a:endParaRPr>
          </a:p>
        </p:txBody>
      </p:sp>
      <p:sp>
        <p:nvSpPr>
          <p:cNvPr id="12" name="Rectangle 11">
            <a:extLst>
              <a:ext uri="{FF2B5EF4-FFF2-40B4-BE49-F238E27FC236}">
                <a16:creationId xmlns:a16="http://schemas.microsoft.com/office/drawing/2014/main" id="{F285A55B-5105-F344-B531-ED3165AE3C4D}"/>
              </a:ext>
            </a:extLst>
          </p:cNvPr>
          <p:cNvSpPr/>
          <p:nvPr userDrawn="1"/>
        </p:nvSpPr>
        <p:spPr>
          <a:xfrm>
            <a:off x="7204242" y="-14389"/>
            <a:ext cx="5017643" cy="64592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804" hangingPunct="0"/>
            <a:endParaRPr lang="en-US" sz="1866" kern="0" dirty="0">
              <a:solidFill>
                <a:srgbClr val="FFFFFF"/>
              </a:solidFill>
              <a:sym typeface="Arial"/>
            </a:endParaRPr>
          </a:p>
        </p:txBody>
      </p:sp>
      <p:grpSp>
        <p:nvGrpSpPr>
          <p:cNvPr id="13" name="Group 12">
            <a:extLst>
              <a:ext uri="{FF2B5EF4-FFF2-40B4-BE49-F238E27FC236}">
                <a16:creationId xmlns:a16="http://schemas.microsoft.com/office/drawing/2014/main" id="{7564F2B1-1C07-6442-9C06-2DF376CA6695}"/>
              </a:ext>
            </a:extLst>
          </p:cNvPr>
          <p:cNvGrpSpPr/>
          <p:nvPr userDrawn="1"/>
        </p:nvGrpSpPr>
        <p:grpSpPr>
          <a:xfrm>
            <a:off x="7204241" y="-14389"/>
            <a:ext cx="4990933" cy="6495241"/>
            <a:chOff x="4713188" y="57150"/>
            <a:chExt cx="4398130" cy="5360260"/>
          </a:xfrm>
        </p:grpSpPr>
        <p:sp>
          <p:nvSpPr>
            <p:cNvPr id="14" name="Rectangle 13">
              <a:extLst>
                <a:ext uri="{FF2B5EF4-FFF2-40B4-BE49-F238E27FC236}">
                  <a16:creationId xmlns:a16="http://schemas.microsoft.com/office/drawing/2014/main" id="{BCF3B219-93E2-4A49-828E-13DB135770F3}"/>
                </a:ext>
              </a:extLst>
            </p:cNvPr>
            <p:cNvSpPr/>
            <p:nvPr/>
          </p:nvSpPr>
          <p:spPr>
            <a:xfrm>
              <a:off x="4713188" y="62130"/>
              <a:ext cx="4394495" cy="5355280"/>
            </a:xfrm>
            <a:prstGeom prst="rect">
              <a:avLst/>
            </a:prstGeom>
            <a:noFill/>
            <a:ln w="3175">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804" hangingPunct="0"/>
              <a:endParaRPr lang="en-US" sz="1866" kern="0" dirty="0">
                <a:solidFill>
                  <a:srgbClr val="FFFFFF"/>
                </a:solidFill>
                <a:sym typeface="Arial"/>
              </a:endParaRPr>
            </a:p>
          </p:txBody>
        </p:sp>
        <p:sp>
          <p:nvSpPr>
            <p:cNvPr id="16" name="Flowchart: Manual Input 21">
              <a:extLst>
                <a:ext uri="{FF2B5EF4-FFF2-40B4-BE49-F238E27FC236}">
                  <a16:creationId xmlns:a16="http://schemas.microsoft.com/office/drawing/2014/main" id="{9C998F2F-43F0-8142-944D-62F203C71BDB}"/>
                </a:ext>
              </a:extLst>
            </p:cNvPr>
            <p:cNvSpPr/>
            <p:nvPr/>
          </p:nvSpPr>
          <p:spPr>
            <a:xfrm flipH="1">
              <a:off x="4713188" y="57150"/>
              <a:ext cx="4398130" cy="5330585"/>
            </a:xfrm>
            <a:prstGeom prst="flowChartManualInput">
              <a:avLst/>
            </a:prstGeom>
            <a:solidFill>
              <a:srgbClr val="3D4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804" hangingPunct="0"/>
              <a:endParaRPr lang="en-US" sz="1866" kern="0" dirty="0">
                <a:solidFill>
                  <a:srgbClr val="FFFFFF"/>
                </a:solidFill>
                <a:sym typeface="Arial"/>
              </a:endParaRPr>
            </a:p>
          </p:txBody>
        </p:sp>
        <p:sp>
          <p:nvSpPr>
            <p:cNvPr id="17" name="Rectangle 47">
              <a:extLst>
                <a:ext uri="{FF2B5EF4-FFF2-40B4-BE49-F238E27FC236}">
                  <a16:creationId xmlns:a16="http://schemas.microsoft.com/office/drawing/2014/main" id="{5CF7FFF5-EA6A-8248-920D-4B2FC70394C0}"/>
                </a:ext>
              </a:extLst>
            </p:cNvPr>
            <p:cNvSpPr/>
            <p:nvPr/>
          </p:nvSpPr>
          <p:spPr>
            <a:xfrm>
              <a:off x="4807257" y="277765"/>
              <a:ext cx="4207590" cy="4994998"/>
            </a:xfrm>
            <a:custGeom>
              <a:avLst/>
              <a:gdLst>
                <a:gd name="connsiteX0" fmla="*/ 0 w 3600400"/>
                <a:gd name="connsiteY0" fmla="*/ 0 h 3619626"/>
                <a:gd name="connsiteX1" fmla="*/ 3600400 w 3600400"/>
                <a:gd name="connsiteY1" fmla="*/ 0 h 3619626"/>
                <a:gd name="connsiteX2" fmla="*/ 3600400 w 3600400"/>
                <a:gd name="connsiteY2" fmla="*/ 3619626 h 3619626"/>
                <a:gd name="connsiteX3" fmla="*/ 0 w 3600400"/>
                <a:gd name="connsiteY3" fmla="*/ 3619626 h 3619626"/>
                <a:gd name="connsiteX4" fmla="*/ 0 w 3600400"/>
                <a:gd name="connsiteY4" fmla="*/ 0 h 3619626"/>
                <a:gd name="connsiteX0" fmla="*/ 0 w 3619450"/>
                <a:gd name="connsiteY0" fmla="*/ 0 h 3619626"/>
                <a:gd name="connsiteX1" fmla="*/ 3619450 w 3619450"/>
                <a:gd name="connsiteY1" fmla="*/ 590550 h 3619626"/>
                <a:gd name="connsiteX2" fmla="*/ 3600400 w 3619450"/>
                <a:gd name="connsiteY2" fmla="*/ 3619626 h 3619626"/>
                <a:gd name="connsiteX3" fmla="*/ 0 w 3619450"/>
                <a:gd name="connsiteY3" fmla="*/ 3619626 h 3619626"/>
                <a:gd name="connsiteX4" fmla="*/ 0 w 3619450"/>
                <a:gd name="connsiteY4" fmla="*/ 0 h 3619626"/>
                <a:gd name="connsiteX0" fmla="*/ 0 w 3628975"/>
                <a:gd name="connsiteY0" fmla="*/ 0 h 3714876"/>
                <a:gd name="connsiteX1" fmla="*/ 3628975 w 3628975"/>
                <a:gd name="connsiteY1" fmla="*/ 685800 h 3714876"/>
                <a:gd name="connsiteX2" fmla="*/ 3609925 w 3628975"/>
                <a:gd name="connsiteY2" fmla="*/ 3714876 h 3714876"/>
                <a:gd name="connsiteX3" fmla="*/ 9525 w 3628975"/>
                <a:gd name="connsiteY3" fmla="*/ 3714876 h 3714876"/>
                <a:gd name="connsiteX4" fmla="*/ 0 w 3628975"/>
                <a:gd name="connsiteY4" fmla="*/ 0 h 3714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8975" h="3714876">
                  <a:moveTo>
                    <a:pt x="0" y="0"/>
                  </a:moveTo>
                  <a:lnTo>
                    <a:pt x="3628975" y="685800"/>
                  </a:lnTo>
                  <a:lnTo>
                    <a:pt x="3609925" y="3714876"/>
                  </a:lnTo>
                  <a:lnTo>
                    <a:pt x="9525" y="3714876"/>
                  </a:lnTo>
                  <a:lnTo>
                    <a:pt x="0" y="0"/>
                  </a:lnTo>
                  <a:close/>
                </a:path>
              </a:pathLst>
            </a:custGeom>
            <a:noFill/>
            <a:ln w="63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804" hangingPunct="0"/>
              <a:endParaRPr lang="en-US" sz="1866" kern="0" dirty="0">
                <a:solidFill>
                  <a:srgbClr val="FFFFFF"/>
                </a:solidFill>
                <a:sym typeface="Arial"/>
              </a:endParaRPr>
            </a:p>
          </p:txBody>
        </p:sp>
      </p:grpSp>
    </p:spTree>
    <p:extLst>
      <p:ext uri="{BB962C8B-B14F-4D97-AF65-F5344CB8AC3E}">
        <p14:creationId xmlns:p14="http://schemas.microsoft.com/office/powerpoint/2010/main" val="3585212219"/>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ocations">
    <p:spTree>
      <p:nvGrpSpPr>
        <p:cNvPr id="1" name=""/>
        <p:cNvGrpSpPr/>
        <p:nvPr/>
      </p:nvGrpSpPr>
      <p:grpSpPr>
        <a:xfrm>
          <a:off x="0" y="0"/>
          <a:ext cx="0" cy="0"/>
          <a:chOff x="0" y="0"/>
          <a:chExt cx="0" cy="0"/>
        </a:xfrm>
      </p:grpSpPr>
      <p:sp>
        <p:nvSpPr>
          <p:cNvPr id="9" name="Shape 144"/>
          <p:cNvSpPr/>
          <p:nvPr userDrawn="1"/>
        </p:nvSpPr>
        <p:spPr>
          <a:xfrm>
            <a:off x="954" y="6537960"/>
            <a:ext cx="12190096" cy="320040"/>
          </a:xfrm>
          <a:prstGeom prst="rect">
            <a:avLst/>
          </a:prstGeom>
          <a:solidFill>
            <a:srgbClr val="3D4045"/>
          </a:solidFill>
          <a:ln w="12700">
            <a:miter lim="400000"/>
          </a:ln>
        </p:spPr>
        <p:txBody>
          <a:bodyPr lIns="54863" rIns="54863" anchor="ctr"/>
          <a:lstStyle/>
          <a:p>
            <a:pPr algn="ctr" defTabSz="1097435" hangingPunct="0">
              <a:defRPr>
                <a:solidFill>
                  <a:srgbClr val="FFFFFF"/>
                </a:solidFill>
              </a:defRPr>
            </a:pPr>
            <a:r>
              <a:rPr lang="en-US" sz="1080" kern="0" dirty="0">
                <a:solidFill>
                  <a:srgbClr val="FFFFFF">
                    <a:lumMod val="85000"/>
                  </a:srgbClr>
                </a:solidFill>
                <a:latin typeface="Lato Light" charset="0"/>
                <a:ea typeface="Lato Light" charset="0"/>
                <a:cs typeface="Lato Light" charset="0"/>
                <a:sym typeface="Arial"/>
              </a:rPr>
              <a:t>© 2018 Innominds — All rights reserved — Confidential</a:t>
            </a:r>
          </a:p>
        </p:txBody>
      </p:sp>
      <p:pic>
        <p:nvPicPr>
          <p:cNvPr id="10" name="image10.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049" y="6502293"/>
            <a:ext cx="878296" cy="391381"/>
          </a:xfrm>
          <a:prstGeom prst="rect">
            <a:avLst/>
          </a:prstGeom>
          <a:ln w="12700">
            <a:miter lim="400000"/>
          </a:ln>
        </p:spPr>
      </p:pic>
      <p:sp>
        <p:nvSpPr>
          <p:cNvPr id="11" name="Shape 173"/>
          <p:cNvSpPr/>
          <p:nvPr userDrawn="1"/>
        </p:nvSpPr>
        <p:spPr>
          <a:xfrm flipV="1">
            <a:off x="3359294" y="1490475"/>
            <a:ext cx="0" cy="4508930"/>
          </a:xfrm>
          <a:prstGeom prst="line">
            <a:avLst/>
          </a:prstGeom>
          <a:ln w="12700">
            <a:solidFill>
              <a:srgbClr val="DDDDDD"/>
            </a:solidFill>
          </a:ln>
        </p:spPr>
        <p:txBody>
          <a:bodyPr lIns="65835" rIns="65835"/>
          <a:lstStyle/>
          <a:p>
            <a:pPr defTabSz="1218804" hangingPunct="0"/>
            <a:endParaRPr sz="2592" kern="0" dirty="0">
              <a:solidFill>
                <a:srgbClr val="000000"/>
              </a:solidFill>
              <a:sym typeface="Arial"/>
            </a:endParaRPr>
          </a:p>
        </p:txBody>
      </p:sp>
      <p:grpSp>
        <p:nvGrpSpPr>
          <p:cNvPr id="13" name="Group 12"/>
          <p:cNvGrpSpPr/>
          <p:nvPr userDrawn="1"/>
        </p:nvGrpSpPr>
        <p:grpSpPr>
          <a:xfrm>
            <a:off x="431155" y="1510182"/>
            <a:ext cx="11440586" cy="1802721"/>
            <a:chOff x="322700" y="1150699"/>
            <a:chExt cx="8581781" cy="1502269"/>
          </a:xfrm>
        </p:grpSpPr>
        <p:grpSp>
          <p:nvGrpSpPr>
            <p:cNvPr id="14" name="Group 13"/>
            <p:cNvGrpSpPr/>
            <p:nvPr/>
          </p:nvGrpSpPr>
          <p:grpSpPr>
            <a:xfrm>
              <a:off x="322701" y="1574285"/>
              <a:ext cx="8581780" cy="1078683"/>
              <a:chOff x="322701" y="1716361"/>
              <a:chExt cx="8581780" cy="1078683"/>
            </a:xfrm>
          </p:grpSpPr>
          <p:sp>
            <p:nvSpPr>
              <p:cNvPr id="17" name="Shape 1223"/>
              <p:cNvSpPr/>
              <p:nvPr/>
            </p:nvSpPr>
            <p:spPr>
              <a:xfrm>
                <a:off x="322701" y="1716361"/>
                <a:ext cx="2311308" cy="1077219"/>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ctr">
                <a:spAutoFit/>
              </a:bodyPr>
              <a:lstStyle/>
              <a:p>
                <a:pPr defTabSz="1218804" hangingPunct="0">
                  <a:defRPr sz="1200" b="1">
                    <a:latin typeface="Proxima Nova"/>
                    <a:ea typeface="Proxima Nova"/>
                    <a:cs typeface="Proxima Nova"/>
                    <a:sym typeface="Proxima Nova"/>
                  </a:defRPr>
                </a:pPr>
                <a:r>
                  <a:rPr sz="1200" b="1" kern="0" dirty="0">
                    <a:solidFill>
                      <a:srgbClr val="000000"/>
                    </a:solidFill>
                    <a:latin typeface="Lato" charset="0"/>
                    <a:ea typeface="Lato" charset="0"/>
                    <a:cs typeface="Lato" charset="0"/>
                    <a:sym typeface="Proxima Nova"/>
                  </a:rPr>
                  <a:t>S</a:t>
                </a:r>
                <a:r>
                  <a:rPr lang="en-US" sz="1200" b="1" kern="0" dirty="0">
                    <a:solidFill>
                      <a:srgbClr val="000000"/>
                    </a:solidFill>
                    <a:latin typeface="Lato" charset="0"/>
                    <a:ea typeface="Lato" charset="0"/>
                    <a:cs typeface="Lato" charset="0"/>
                    <a:sym typeface="Proxima Nova"/>
                  </a:rPr>
                  <a:t>AN JOSE (HQ)</a:t>
                </a:r>
              </a:p>
              <a:p>
                <a:pPr defTabSz="1218804" hangingPunct="0">
                  <a:defRPr sz="1200" b="1">
                    <a:latin typeface="Proxima Nova"/>
                    <a:ea typeface="Proxima Nova"/>
                    <a:cs typeface="Proxima Nova"/>
                    <a:sym typeface="Proxima Nova"/>
                  </a:defRPr>
                </a:pPr>
                <a:endParaRPr sz="1200" b="1" kern="0" dirty="0">
                  <a:solidFill>
                    <a:srgbClr val="000000"/>
                  </a:solidFill>
                  <a:latin typeface="Lato" charset="0"/>
                  <a:ea typeface="Lato" charset="0"/>
                  <a:cs typeface="Lato" charset="0"/>
                  <a:sym typeface="Proxima Nova"/>
                </a:endParaRPr>
              </a:p>
              <a:p>
                <a:pPr defTabSz="1218804" hangingPunct="0">
                  <a:defRPr sz="1200">
                    <a:latin typeface="Proxima Nova"/>
                    <a:ea typeface="Proxima Nova"/>
                    <a:cs typeface="Proxima Nova"/>
                    <a:sym typeface="Proxima Nova"/>
                  </a:defRPr>
                </a:pPr>
                <a:r>
                  <a:rPr sz="1200" kern="0" dirty="0">
                    <a:solidFill>
                      <a:srgbClr val="FFFFFF">
                        <a:lumMod val="50000"/>
                      </a:srgbClr>
                    </a:solidFill>
                    <a:latin typeface="Lato" charset="0"/>
                    <a:ea typeface="Lato" charset="0"/>
                    <a:cs typeface="Lato" charset="0"/>
                    <a:sym typeface="Proxima Nova"/>
                  </a:rPr>
                  <a:t>2055 Junction Avenue, </a:t>
                </a:r>
                <a:endParaRPr lang="en-US" sz="1200" kern="0" dirty="0">
                  <a:solidFill>
                    <a:srgbClr val="FFFFFF">
                      <a:lumMod val="50000"/>
                    </a:srgbClr>
                  </a:solidFill>
                  <a:latin typeface="Lato" charset="0"/>
                  <a:ea typeface="Lato" charset="0"/>
                  <a:cs typeface="Lato" charset="0"/>
                  <a:sym typeface="Proxima Nova"/>
                </a:endParaRPr>
              </a:p>
              <a:p>
                <a:pPr defTabSz="1218804" hangingPunct="0">
                  <a:defRPr sz="1200">
                    <a:latin typeface="Proxima Nova"/>
                    <a:ea typeface="Proxima Nova"/>
                    <a:cs typeface="Proxima Nova"/>
                    <a:sym typeface="Proxima Nova"/>
                  </a:defRPr>
                </a:pPr>
                <a:r>
                  <a:rPr sz="1200" kern="0" dirty="0">
                    <a:solidFill>
                      <a:srgbClr val="FFFFFF">
                        <a:lumMod val="50000"/>
                      </a:srgbClr>
                    </a:solidFill>
                    <a:latin typeface="Lato" charset="0"/>
                    <a:ea typeface="Lato" charset="0"/>
                    <a:cs typeface="Lato" charset="0"/>
                    <a:sym typeface="Proxima Nova"/>
                  </a:rPr>
                  <a:t>Suite 122,</a:t>
                </a:r>
              </a:p>
              <a:p>
                <a:pPr defTabSz="1218804" hangingPunct="0">
                  <a:defRPr sz="1200">
                    <a:latin typeface="Proxima Nova"/>
                    <a:ea typeface="Proxima Nova"/>
                    <a:cs typeface="Proxima Nova"/>
                    <a:sym typeface="Proxima Nova"/>
                  </a:defRPr>
                </a:pPr>
                <a:r>
                  <a:rPr sz="1200" kern="0" dirty="0">
                    <a:solidFill>
                      <a:srgbClr val="FFFFFF">
                        <a:lumMod val="50000"/>
                      </a:srgbClr>
                    </a:solidFill>
                    <a:latin typeface="Lato" charset="0"/>
                    <a:ea typeface="Lato" charset="0"/>
                    <a:cs typeface="Lato" charset="0"/>
                    <a:sym typeface="Proxima Nova"/>
                  </a:rPr>
                  <a:t>San Jose, CA 95131.</a:t>
                </a:r>
              </a:p>
              <a:p>
                <a:pPr defTabSz="1218804" hangingPunct="0">
                  <a:defRPr sz="1200">
                    <a:latin typeface="Proxima Nova"/>
                    <a:ea typeface="Proxima Nova"/>
                    <a:cs typeface="Proxima Nova"/>
                    <a:sym typeface="Proxima Nova"/>
                  </a:defRPr>
                </a:pPr>
                <a:r>
                  <a:rPr sz="1200" kern="0" dirty="0">
                    <a:solidFill>
                      <a:srgbClr val="FFFFFF">
                        <a:lumMod val="50000"/>
                      </a:srgbClr>
                    </a:solidFill>
                    <a:latin typeface="Lato" charset="0"/>
                    <a:ea typeface="Lato" charset="0"/>
                    <a:cs typeface="Lato" charset="0"/>
                    <a:sym typeface="Proxima Nova"/>
                  </a:rPr>
                  <a:t>Phone: </a:t>
                </a:r>
                <a:r>
                  <a:rPr lang="en-US" sz="1200" kern="0" dirty="0">
                    <a:solidFill>
                      <a:srgbClr val="FFFFFF">
                        <a:lumMod val="50000"/>
                      </a:srgbClr>
                    </a:solidFill>
                    <a:latin typeface="Lato" charset="0"/>
                    <a:ea typeface="Lato" charset="0"/>
                    <a:cs typeface="Lato" charset="0"/>
                    <a:sym typeface="Proxima Nova"/>
                  </a:rPr>
                  <a:t>+1 </a:t>
                </a:r>
                <a:r>
                  <a:rPr sz="1200" kern="0" dirty="0">
                    <a:solidFill>
                      <a:srgbClr val="FFFFFF">
                        <a:lumMod val="50000"/>
                      </a:srgbClr>
                    </a:solidFill>
                    <a:latin typeface="Lato" charset="0"/>
                    <a:ea typeface="Lato" charset="0"/>
                    <a:cs typeface="Lato" charset="0"/>
                    <a:sym typeface="Proxima Nova"/>
                  </a:rPr>
                  <a:t>408-434-MIND</a:t>
                </a:r>
              </a:p>
              <a:p>
                <a:pPr defTabSz="1218804" hangingPunct="0">
                  <a:defRPr sz="1200">
                    <a:latin typeface="Proxima Nova"/>
                    <a:ea typeface="Proxima Nova"/>
                    <a:cs typeface="Proxima Nova"/>
                    <a:sym typeface="Proxima Nova"/>
                  </a:defRPr>
                </a:pPr>
                <a:r>
                  <a:rPr sz="1200" kern="0" dirty="0">
                    <a:solidFill>
                      <a:srgbClr val="FFFFFF">
                        <a:lumMod val="50000"/>
                      </a:srgbClr>
                    </a:solidFill>
                    <a:latin typeface="Lato" charset="0"/>
                    <a:ea typeface="Lato" charset="0"/>
                    <a:cs typeface="Lato" charset="0"/>
                    <a:sym typeface="Proxima Nova"/>
                  </a:rPr>
                  <a:t>Fax: +1</a:t>
                </a:r>
                <a:r>
                  <a:rPr lang="en-US" sz="1200" kern="0" dirty="0">
                    <a:solidFill>
                      <a:srgbClr val="FFFFFF">
                        <a:lumMod val="50000"/>
                      </a:srgbClr>
                    </a:solidFill>
                    <a:latin typeface="Lato" charset="0"/>
                    <a:ea typeface="Lato" charset="0"/>
                    <a:cs typeface="Lato" charset="0"/>
                    <a:sym typeface="Proxima Nova"/>
                  </a:rPr>
                  <a:t> </a:t>
                </a:r>
                <a:r>
                  <a:rPr sz="1200" kern="0" dirty="0">
                    <a:solidFill>
                      <a:srgbClr val="FFFFFF">
                        <a:lumMod val="50000"/>
                      </a:srgbClr>
                    </a:solidFill>
                    <a:latin typeface="Lato" charset="0"/>
                    <a:ea typeface="Lato" charset="0"/>
                    <a:cs typeface="Lato" charset="0"/>
                    <a:sym typeface="Proxima Nova"/>
                  </a:rPr>
                  <a:t>408-434-7061</a:t>
                </a:r>
              </a:p>
            </p:txBody>
          </p:sp>
          <p:sp>
            <p:nvSpPr>
              <p:cNvPr id="18" name="Shape 1225"/>
              <p:cNvSpPr/>
              <p:nvPr/>
            </p:nvSpPr>
            <p:spPr>
              <a:xfrm>
                <a:off x="3246851" y="1717824"/>
                <a:ext cx="2634689" cy="1077220"/>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ctr">
                <a:spAutoFit/>
              </a:bodyPr>
              <a:lstStyle/>
              <a:p>
                <a:pPr defTabSz="1218804" hangingPunct="0">
                  <a:defRPr sz="1200" b="1">
                    <a:latin typeface="Proxima Nova"/>
                    <a:ea typeface="Proxima Nova"/>
                    <a:cs typeface="Proxima Nova"/>
                    <a:sym typeface="Proxima Nova"/>
                  </a:defRPr>
                </a:pPr>
                <a:r>
                  <a:rPr lang="en-US" sz="1200" b="1" kern="0" dirty="0">
                    <a:solidFill>
                      <a:srgbClr val="000000"/>
                    </a:solidFill>
                    <a:latin typeface="Lato" charset="0"/>
                    <a:ea typeface="Lato" charset="0"/>
                    <a:cs typeface="Lato" charset="0"/>
                    <a:sym typeface="Proxima Nova"/>
                  </a:rPr>
                  <a:t>HYDERABAD</a:t>
                </a:r>
              </a:p>
              <a:p>
                <a:pPr defTabSz="1218804" hangingPunct="0">
                  <a:defRPr sz="1200" b="1">
                    <a:latin typeface="Proxima Nova"/>
                    <a:ea typeface="Proxima Nova"/>
                    <a:cs typeface="Proxima Nova"/>
                    <a:sym typeface="Proxima Nova"/>
                  </a:defRPr>
                </a:pPr>
                <a:endParaRPr sz="1200" b="1" kern="0" dirty="0">
                  <a:solidFill>
                    <a:srgbClr val="000000"/>
                  </a:solidFill>
                  <a:latin typeface="Lato" charset="0"/>
                  <a:ea typeface="Lato" charset="0"/>
                  <a:cs typeface="Lato" charset="0"/>
                  <a:sym typeface="Proxima Nova"/>
                </a:endParaRPr>
              </a:p>
              <a:p>
                <a:pPr defTabSz="1218804" hangingPunct="0">
                  <a:defRPr sz="1200">
                    <a:latin typeface="Proxima Nova"/>
                    <a:ea typeface="Proxima Nova"/>
                    <a:cs typeface="Proxima Nova"/>
                    <a:sym typeface="Proxima Nova"/>
                  </a:defRPr>
                </a:pPr>
                <a:r>
                  <a:rPr sz="1200" kern="0" dirty="0">
                    <a:solidFill>
                      <a:srgbClr val="FFFFFF">
                        <a:lumMod val="50000"/>
                      </a:srgbClr>
                    </a:solidFill>
                    <a:latin typeface="Lato" charset="0"/>
                    <a:ea typeface="Lato" charset="0"/>
                    <a:cs typeface="Lato" charset="0"/>
                    <a:sym typeface="Proxima Nova"/>
                  </a:rPr>
                  <a:t>4th Floor, Waverock SEZ, Road </a:t>
                </a:r>
                <a:r>
                  <a:rPr lang="en-US" sz="1200" kern="0" dirty="0">
                    <a:solidFill>
                      <a:srgbClr val="FFFFFF">
                        <a:lumMod val="50000"/>
                      </a:srgbClr>
                    </a:solidFill>
                    <a:latin typeface="Lato" charset="0"/>
                    <a:ea typeface="Lato" charset="0"/>
                    <a:cs typeface="Lato" charset="0"/>
                    <a:sym typeface="Proxima Nova"/>
                  </a:rPr>
                  <a:t>#</a:t>
                </a:r>
                <a:r>
                  <a:rPr sz="1200" kern="0" dirty="0">
                    <a:solidFill>
                      <a:srgbClr val="FFFFFF">
                        <a:lumMod val="50000"/>
                      </a:srgbClr>
                    </a:solidFill>
                    <a:latin typeface="Lato" charset="0"/>
                    <a:ea typeface="Lato" charset="0"/>
                    <a:cs typeface="Lato" charset="0"/>
                    <a:sym typeface="Proxima Nova"/>
                  </a:rPr>
                  <a:t>2, </a:t>
                </a:r>
                <a:r>
                  <a:rPr lang="en-US" sz="1200" kern="0" dirty="0">
                    <a:solidFill>
                      <a:srgbClr val="FFFFFF">
                        <a:lumMod val="50000"/>
                      </a:srgbClr>
                    </a:solidFill>
                    <a:latin typeface="Lato" charset="0"/>
                    <a:ea typeface="Lato" charset="0"/>
                    <a:cs typeface="Lato" charset="0"/>
                    <a:sym typeface="Proxima Nova"/>
                  </a:rPr>
                  <a:t>Financial District</a:t>
                </a:r>
              </a:p>
              <a:p>
                <a:pPr defTabSz="1218804" hangingPunct="0">
                  <a:defRPr sz="1200">
                    <a:latin typeface="Proxima Nova"/>
                    <a:ea typeface="Proxima Nova"/>
                    <a:cs typeface="Proxima Nova"/>
                    <a:sym typeface="Proxima Nova"/>
                  </a:defRPr>
                </a:pPr>
                <a:r>
                  <a:rPr sz="1200" kern="0" dirty="0">
                    <a:solidFill>
                      <a:srgbClr val="FFFFFF">
                        <a:lumMod val="50000"/>
                      </a:srgbClr>
                    </a:solidFill>
                    <a:latin typeface="Lato" charset="0"/>
                    <a:ea typeface="Lato" charset="0"/>
                    <a:cs typeface="Lato" charset="0"/>
                    <a:sym typeface="Proxima Nova"/>
                  </a:rPr>
                  <a:t>Hyderabad</a:t>
                </a:r>
                <a:r>
                  <a:rPr lang="en-US" sz="1200" kern="0" dirty="0">
                    <a:solidFill>
                      <a:srgbClr val="FFFFFF">
                        <a:lumMod val="50000"/>
                      </a:srgbClr>
                    </a:solidFill>
                    <a:latin typeface="Lato" charset="0"/>
                    <a:ea typeface="Lato" charset="0"/>
                    <a:cs typeface="Lato" charset="0"/>
                    <a:sym typeface="Proxima Nova"/>
                  </a:rPr>
                  <a:t> – </a:t>
                </a:r>
                <a:r>
                  <a:rPr lang="is-IS" sz="1200" kern="0" dirty="0">
                    <a:solidFill>
                      <a:srgbClr val="FFFFFF">
                        <a:lumMod val="50000"/>
                      </a:srgbClr>
                    </a:solidFill>
                    <a:latin typeface="Lato" charset="0"/>
                    <a:ea typeface="Lato" charset="0"/>
                    <a:cs typeface="Lato" charset="0"/>
                    <a:sym typeface="Proxima Nova"/>
                  </a:rPr>
                  <a:t>500 032</a:t>
                </a:r>
                <a:r>
                  <a:rPr sz="1200" kern="0" dirty="0">
                    <a:solidFill>
                      <a:srgbClr val="FFFFFF">
                        <a:lumMod val="50000"/>
                      </a:srgbClr>
                    </a:solidFill>
                    <a:latin typeface="Lato" charset="0"/>
                    <a:ea typeface="Lato" charset="0"/>
                    <a:cs typeface="Lato" charset="0"/>
                    <a:sym typeface="Proxima Nova"/>
                  </a:rPr>
                  <a:t> </a:t>
                </a:r>
                <a:endParaRPr lang="en-US" sz="1200" kern="0" dirty="0">
                  <a:solidFill>
                    <a:srgbClr val="FFFFFF">
                      <a:lumMod val="50000"/>
                    </a:srgbClr>
                  </a:solidFill>
                  <a:latin typeface="Lato" charset="0"/>
                  <a:ea typeface="Lato" charset="0"/>
                  <a:cs typeface="Lato" charset="0"/>
                  <a:sym typeface="Proxima Nova"/>
                </a:endParaRPr>
              </a:p>
              <a:p>
                <a:pPr defTabSz="1218804" hangingPunct="0">
                  <a:defRPr sz="1200">
                    <a:latin typeface="Proxima Nova"/>
                    <a:ea typeface="Proxima Nova"/>
                    <a:cs typeface="Proxima Nova"/>
                    <a:sym typeface="Proxima Nova"/>
                  </a:defRPr>
                </a:pPr>
                <a:r>
                  <a:rPr sz="1200" kern="0" dirty="0">
                    <a:solidFill>
                      <a:srgbClr val="FFFFFF">
                        <a:lumMod val="50000"/>
                      </a:srgbClr>
                    </a:solidFill>
                    <a:latin typeface="Lato" charset="0"/>
                    <a:ea typeface="Lato" charset="0"/>
                    <a:cs typeface="Lato" charset="0"/>
                    <a:sym typeface="Proxima Nova"/>
                  </a:rPr>
                  <a:t>Telangana</a:t>
                </a:r>
              </a:p>
              <a:p>
                <a:pPr defTabSz="1218804" hangingPunct="0">
                  <a:defRPr sz="1200">
                    <a:latin typeface="Proxima Nova"/>
                    <a:ea typeface="Proxima Nova"/>
                    <a:cs typeface="Proxima Nova"/>
                    <a:sym typeface="Proxima Nova"/>
                  </a:defRPr>
                </a:pPr>
                <a:r>
                  <a:rPr sz="1200" kern="0" dirty="0">
                    <a:solidFill>
                      <a:srgbClr val="FFFFFF">
                        <a:lumMod val="50000"/>
                      </a:srgbClr>
                    </a:solidFill>
                    <a:latin typeface="Lato" charset="0"/>
                    <a:ea typeface="Lato" charset="0"/>
                    <a:cs typeface="Lato" charset="0"/>
                    <a:sym typeface="Proxima Nova"/>
                  </a:rPr>
                  <a:t>Phone: +91</a:t>
                </a:r>
                <a:r>
                  <a:rPr lang="en-US" sz="1200" kern="0" dirty="0">
                    <a:solidFill>
                      <a:srgbClr val="FFFFFF">
                        <a:lumMod val="50000"/>
                      </a:srgbClr>
                    </a:solidFill>
                    <a:latin typeface="Lato" charset="0"/>
                    <a:ea typeface="Lato" charset="0"/>
                    <a:cs typeface="Lato" charset="0"/>
                    <a:sym typeface="Proxima Nova"/>
                  </a:rPr>
                  <a:t> (0)</a:t>
                </a:r>
                <a:r>
                  <a:rPr sz="1200" kern="0" dirty="0">
                    <a:solidFill>
                      <a:srgbClr val="FFFFFF">
                        <a:lumMod val="50000"/>
                      </a:srgbClr>
                    </a:solidFill>
                    <a:latin typeface="Lato" charset="0"/>
                    <a:ea typeface="Lato" charset="0"/>
                    <a:cs typeface="Lato" charset="0"/>
                    <a:sym typeface="Proxima Nova"/>
                  </a:rPr>
                  <a:t>40</a:t>
                </a:r>
                <a:r>
                  <a:rPr lang="en-US" sz="1200" kern="0" dirty="0">
                    <a:solidFill>
                      <a:srgbClr val="FFFFFF">
                        <a:lumMod val="50000"/>
                      </a:srgbClr>
                    </a:solidFill>
                    <a:latin typeface="Lato" charset="0"/>
                    <a:ea typeface="Lato" charset="0"/>
                    <a:cs typeface="Lato" charset="0"/>
                    <a:sym typeface="Proxima Nova"/>
                  </a:rPr>
                  <a:t> </a:t>
                </a:r>
                <a:r>
                  <a:rPr sz="1200" kern="0" dirty="0">
                    <a:solidFill>
                      <a:srgbClr val="FFFFFF">
                        <a:lumMod val="50000"/>
                      </a:srgbClr>
                    </a:solidFill>
                    <a:latin typeface="Lato" charset="0"/>
                    <a:ea typeface="Lato" charset="0"/>
                    <a:cs typeface="Lato" charset="0"/>
                    <a:sym typeface="Proxima Nova"/>
                  </a:rPr>
                  <a:t>66126300</a:t>
                </a:r>
              </a:p>
            </p:txBody>
          </p:sp>
          <p:sp>
            <p:nvSpPr>
              <p:cNvPr id="19" name="Shape 1225"/>
              <p:cNvSpPr/>
              <p:nvPr/>
            </p:nvSpPr>
            <p:spPr>
              <a:xfrm>
                <a:off x="6167464" y="1717823"/>
                <a:ext cx="2737017" cy="1077220"/>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ctr">
                <a:spAutoFit/>
              </a:bodyPr>
              <a:lstStyle/>
              <a:p>
                <a:pPr defTabSz="1218804" hangingPunct="0">
                  <a:defRPr sz="1200" b="1">
                    <a:latin typeface="Proxima Nova"/>
                    <a:ea typeface="Proxima Nova"/>
                    <a:cs typeface="Proxima Nova"/>
                    <a:sym typeface="Proxima Nova"/>
                  </a:defRPr>
                </a:pPr>
                <a:r>
                  <a:rPr lang="en-US" sz="1200" b="1" kern="0" dirty="0">
                    <a:solidFill>
                      <a:srgbClr val="000000"/>
                    </a:solidFill>
                    <a:latin typeface="Lato Medium" charset="0"/>
                    <a:ea typeface="Lato Medium" charset="0"/>
                    <a:cs typeface="Lato Medium" charset="0"/>
                    <a:sym typeface="Proxima Nova"/>
                  </a:rPr>
                  <a:t>HYDERABAD</a:t>
                </a:r>
              </a:p>
              <a:p>
                <a:pPr defTabSz="1218804" hangingPunct="0">
                  <a:defRPr sz="1200" b="1">
                    <a:latin typeface="Proxima Nova"/>
                    <a:ea typeface="Proxima Nova"/>
                    <a:cs typeface="Proxima Nova"/>
                    <a:sym typeface="Proxima Nova"/>
                  </a:defRPr>
                </a:pPr>
                <a:endParaRPr sz="1200" b="1" kern="0" dirty="0">
                  <a:solidFill>
                    <a:srgbClr val="000000"/>
                  </a:solidFill>
                  <a:latin typeface="Lato Medium" charset="0"/>
                  <a:ea typeface="Lato Medium" charset="0"/>
                  <a:cs typeface="Lato Medium" charset="0"/>
                  <a:sym typeface="Proxima Nova"/>
                </a:endParaRPr>
              </a:p>
              <a:p>
                <a:pPr defTabSz="1218804" hangingPunct="0">
                  <a:defRPr sz="1200">
                    <a:latin typeface="Proxima Nova"/>
                    <a:ea typeface="Proxima Nova"/>
                    <a:cs typeface="Proxima Nova"/>
                    <a:sym typeface="Proxima Nova"/>
                  </a:defRPr>
                </a:pPr>
                <a:r>
                  <a:rPr lang="en-US" sz="1200" kern="0" dirty="0">
                    <a:solidFill>
                      <a:srgbClr val="FFFFFF">
                        <a:lumMod val="50000"/>
                      </a:srgbClr>
                    </a:solidFill>
                    <a:latin typeface="Lato Medium" charset="0"/>
                    <a:ea typeface="Lato Medium" charset="0"/>
                    <a:cs typeface="Lato Medium" charset="0"/>
                    <a:sym typeface="Proxima Nova"/>
                  </a:rPr>
                  <a:t>Kala Jyothi building,</a:t>
                </a:r>
                <a:br>
                  <a:rPr lang="en-US" sz="1200" kern="0" dirty="0">
                    <a:solidFill>
                      <a:srgbClr val="FFFFFF">
                        <a:lumMod val="50000"/>
                      </a:srgbClr>
                    </a:solidFill>
                    <a:latin typeface="Lato Medium" charset="0"/>
                    <a:ea typeface="Lato Medium" charset="0"/>
                    <a:cs typeface="Lato Medium" charset="0"/>
                    <a:sym typeface="Proxima Nova"/>
                  </a:rPr>
                </a:br>
                <a:r>
                  <a:rPr lang="en-US" sz="1200" kern="0" dirty="0">
                    <a:solidFill>
                      <a:srgbClr val="FFFFFF">
                        <a:lumMod val="50000"/>
                      </a:srgbClr>
                    </a:solidFill>
                    <a:latin typeface="Lato Medium" charset="0"/>
                    <a:ea typeface="Lato Medium" charset="0"/>
                    <a:cs typeface="Lato Medium" charset="0"/>
                    <a:sym typeface="Proxima Nova"/>
                  </a:rPr>
                  <a:t>Survey #185, Kondapur </a:t>
                </a:r>
              </a:p>
              <a:p>
                <a:pPr defTabSz="1218804" hangingPunct="0">
                  <a:defRPr sz="1200">
                    <a:latin typeface="Proxima Nova"/>
                    <a:ea typeface="Proxima Nova"/>
                    <a:cs typeface="Proxima Nova"/>
                    <a:sym typeface="Proxima Nova"/>
                  </a:defRPr>
                </a:pPr>
                <a:r>
                  <a:rPr lang="en-US" sz="1200" kern="0" dirty="0">
                    <a:solidFill>
                      <a:srgbClr val="FFFFFF">
                        <a:lumMod val="50000"/>
                      </a:srgbClr>
                    </a:solidFill>
                    <a:latin typeface="Lato Medium" charset="0"/>
                    <a:ea typeface="Lato Medium" charset="0"/>
                    <a:cs typeface="Lato Medium" charset="0"/>
                    <a:sym typeface="Proxima Nova"/>
                  </a:rPr>
                  <a:t>Hyderabad – 500 133</a:t>
                </a:r>
              </a:p>
              <a:p>
                <a:pPr defTabSz="1218804" hangingPunct="0">
                  <a:defRPr sz="1200">
                    <a:latin typeface="Proxima Nova"/>
                    <a:ea typeface="Proxima Nova"/>
                    <a:cs typeface="Proxima Nova"/>
                    <a:sym typeface="Proxima Nova"/>
                  </a:defRPr>
                </a:pPr>
                <a:r>
                  <a:rPr lang="en-US" sz="1200" kern="0" dirty="0">
                    <a:solidFill>
                      <a:srgbClr val="FFFFFF">
                        <a:lumMod val="50000"/>
                      </a:srgbClr>
                    </a:solidFill>
                    <a:latin typeface="Lato Medium" charset="0"/>
                    <a:ea typeface="Lato Medium" charset="0"/>
                    <a:cs typeface="Lato Medium" charset="0"/>
                    <a:sym typeface="Proxima Nova"/>
                  </a:rPr>
                  <a:t>Telangana </a:t>
                </a:r>
                <a:br>
                  <a:rPr lang="en-US" sz="1200" kern="0" dirty="0">
                    <a:solidFill>
                      <a:srgbClr val="FFFFFF">
                        <a:lumMod val="50000"/>
                      </a:srgbClr>
                    </a:solidFill>
                    <a:latin typeface="Lato Medium" charset="0"/>
                    <a:ea typeface="Lato Medium" charset="0"/>
                    <a:cs typeface="Lato Medium" charset="0"/>
                    <a:sym typeface="Proxima Nova"/>
                  </a:rPr>
                </a:br>
                <a:r>
                  <a:rPr lang="en-US" sz="1200" kern="0" dirty="0">
                    <a:solidFill>
                      <a:srgbClr val="FFFFFF">
                        <a:lumMod val="50000"/>
                      </a:srgbClr>
                    </a:solidFill>
                    <a:latin typeface="Lato Medium" charset="0"/>
                    <a:ea typeface="Lato Medium" charset="0"/>
                    <a:cs typeface="Lato Medium" charset="0"/>
                    <a:sym typeface="Proxima Nova"/>
                  </a:rPr>
                  <a:t>Phone: +91 </a:t>
                </a:r>
                <a:r>
                  <a:rPr lang="en-US" sz="1200" kern="0" dirty="0">
                    <a:solidFill>
                      <a:srgbClr val="FFFFFF">
                        <a:lumMod val="50000"/>
                      </a:srgbClr>
                    </a:solidFill>
                    <a:latin typeface="Lato" charset="0"/>
                    <a:ea typeface="Lato" charset="0"/>
                    <a:cs typeface="Lato" charset="0"/>
                    <a:sym typeface="Proxima Nova"/>
                  </a:rPr>
                  <a:t>(0)</a:t>
                </a:r>
                <a:r>
                  <a:rPr lang="en-US" sz="1200" kern="0" dirty="0">
                    <a:solidFill>
                      <a:srgbClr val="FFFFFF">
                        <a:lumMod val="50000"/>
                      </a:srgbClr>
                    </a:solidFill>
                    <a:latin typeface="Lato Medium" charset="0"/>
                    <a:ea typeface="Lato Medium" charset="0"/>
                    <a:cs typeface="Lato Medium" charset="0"/>
                    <a:sym typeface="Proxima Nova"/>
                  </a:rPr>
                  <a:t>40 46126700</a:t>
                </a:r>
              </a:p>
            </p:txBody>
          </p:sp>
        </p:grpSp>
        <p:sp>
          <p:nvSpPr>
            <p:cNvPr id="15" name="Shape 1209"/>
            <p:cNvSpPr/>
            <p:nvPr/>
          </p:nvSpPr>
          <p:spPr>
            <a:xfrm>
              <a:off x="322700" y="1150699"/>
              <a:ext cx="1895948" cy="184666"/>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defTabSz="1218804" hangingPunct="0">
                <a:defRPr>
                  <a:solidFill>
                    <a:srgbClr val="808080"/>
                  </a:solidFill>
                  <a:latin typeface="Georgia"/>
                  <a:ea typeface="Georgia"/>
                  <a:cs typeface="Georgia"/>
                  <a:sym typeface="Georgia"/>
                </a:defRPr>
              </a:pPr>
              <a:r>
                <a:rPr lang="en-US" sz="1440" kern="0" dirty="0">
                  <a:solidFill>
                    <a:srgbClr val="EA4920"/>
                  </a:solidFill>
                  <a:latin typeface="Lato" charset="0"/>
                  <a:ea typeface="Lato" charset="0"/>
                  <a:cs typeface="Lato" charset="0"/>
                  <a:sym typeface="Georgia"/>
                </a:rPr>
                <a:t>NORTH AMERICA</a:t>
              </a:r>
              <a:endParaRPr sz="1440" kern="0" dirty="0">
                <a:solidFill>
                  <a:srgbClr val="EA4920"/>
                </a:solidFill>
                <a:latin typeface="Lato" charset="0"/>
                <a:ea typeface="Lato" charset="0"/>
                <a:cs typeface="Lato" charset="0"/>
                <a:sym typeface="Georgia"/>
              </a:endParaRPr>
            </a:p>
          </p:txBody>
        </p:sp>
        <p:sp>
          <p:nvSpPr>
            <p:cNvPr id="16" name="Shape 1209"/>
            <p:cNvSpPr/>
            <p:nvPr/>
          </p:nvSpPr>
          <p:spPr>
            <a:xfrm>
              <a:off x="3246852" y="1150701"/>
              <a:ext cx="1895948" cy="184666"/>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defTabSz="1218804" hangingPunct="0">
                <a:defRPr>
                  <a:solidFill>
                    <a:srgbClr val="808080"/>
                  </a:solidFill>
                  <a:latin typeface="Georgia"/>
                  <a:ea typeface="Georgia"/>
                  <a:cs typeface="Georgia"/>
                  <a:sym typeface="Georgia"/>
                </a:defRPr>
              </a:pPr>
              <a:r>
                <a:rPr lang="en-US" sz="1440" kern="0" dirty="0">
                  <a:solidFill>
                    <a:srgbClr val="EA4920"/>
                  </a:solidFill>
                  <a:latin typeface="Lato" charset="0"/>
                  <a:ea typeface="Lato" charset="0"/>
                  <a:cs typeface="Lato" charset="0"/>
                  <a:sym typeface="Georgia"/>
                </a:rPr>
                <a:t>INDIA</a:t>
              </a:r>
              <a:endParaRPr sz="1440" kern="0" dirty="0">
                <a:solidFill>
                  <a:srgbClr val="EA4920"/>
                </a:solidFill>
                <a:latin typeface="Lato" charset="0"/>
                <a:ea typeface="Lato" charset="0"/>
                <a:cs typeface="Lato" charset="0"/>
                <a:sym typeface="Georgia"/>
              </a:endParaRPr>
            </a:p>
          </p:txBody>
        </p:sp>
      </p:grpSp>
      <p:grpSp>
        <p:nvGrpSpPr>
          <p:cNvPr id="20" name="Group 19"/>
          <p:cNvGrpSpPr/>
          <p:nvPr userDrawn="1"/>
        </p:nvGrpSpPr>
        <p:grpSpPr>
          <a:xfrm>
            <a:off x="431151" y="4009146"/>
            <a:ext cx="10000818" cy="1795149"/>
            <a:chOff x="322700" y="3231521"/>
            <a:chExt cx="7501786" cy="1495959"/>
          </a:xfrm>
        </p:grpSpPr>
        <p:sp>
          <p:nvSpPr>
            <p:cNvPr id="21" name="Shape 1209"/>
            <p:cNvSpPr/>
            <p:nvPr/>
          </p:nvSpPr>
          <p:spPr>
            <a:xfrm>
              <a:off x="322700" y="3231521"/>
              <a:ext cx="2788865" cy="184666"/>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defTabSz="1218804" hangingPunct="0">
                <a:defRPr>
                  <a:solidFill>
                    <a:srgbClr val="808080"/>
                  </a:solidFill>
                  <a:latin typeface="Georgia"/>
                  <a:ea typeface="Georgia"/>
                  <a:cs typeface="Georgia"/>
                  <a:sym typeface="Georgia"/>
                </a:defRPr>
              </a:pPr>
              <a:r>
                <a:rPr lang="en-US" sz="1440" kern="0" dirty="0">
                  <a:solidFill>
                    <a:srgbClr val="EA4920"/>
                  </a:solidFill>
                  <a:latin typeface="Lato" charset="0"/>
                  <a:ea typeface="Lato" charset="0"/>
                  <a:cs typeface="Lato" charset="0"/>
                  <a:sym typeface="Georgia"/>
                </a:rPr>
                <a:t>EUROPE</a:t>
              </a:r>
              <a:endParaRPr sz="1440" kern="0" dirty="0">
                <a:solidFill>
                  <a:srgbClr val="EA4920"/>
                </a:solidFill>
                <a:latin typeface="Lato" charset="0"/>
                <a:ea typeface="Lato" charset="0"/>
                <a:cs typeface="Lato" charset="0"/>
                <a:sym typeface="Georgia"/>
              </a:endParaRPr>
            </a:p>
          </p:txBody>
        </p:sp>
        <p:grpSp>
          <p:nvGrpSpPr>
            <p:cNvPr id="22" name="Group 21"/>
            <p:cNvGrpSpPr/>
            <p:nvPr/>
          </p:nvGrpSpPr>
          <p:grpSpPr>
            <a:xfrm>
              <a:off x="322701" y="3637643"/>
              <a:ext cx="7501785" cy="1089837"/>
              <a:chOff x="322701" y="3769446"/>
              <a:chExt cx="7501785" cy="1089837"/>
            </a:xfrm>
          </p:grpSpPr>
          <p:sp>
            <p:nvSpPr>
              <p:cNvPr id="23" name="Shape 1226"/>
              <p:cNvSpPr/>
              <p:nvPr/>
            </p:nvSpPr>
            <p:spPr>
              <a:xfrm>
                <a:off x="3246853" y="3782064"/>
                <a:ext cx="2634688" cy="1077219"/>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ctr">
                <a:spAutoFit/>
              </a:bodyPr>
              <a:lstStyle/>
              <a:p>
                <a:pPr defTabSz="1218804" hangingPunct="0">
                  <a:defRPr sz="1200" b="1">
                    <a:latin typeface="Proxima Nova"/>
                    <a:ea typeface="Proxima Nova"/>
                    <a:cs typeface="Proxima Nova"/>
                    <a:sym typeface="Proxima Nova"/>
                  </a:defRPr>
                </a:pPr>
                <a:r>
                  <a:rPr lang="en-US" sz="1200" b="1" kern="0" dirty="0">
                    <a:solidFill>
                      <a:srgbClr val="000000"/>
                    </a:solidFill>
                    <a:latin typeface="Lato" charset="0"/>
                    <a:ea typeface="Lato" charset="0"/>
                    <a:cs typeface="Lato" charset="0"/>
                    <a:sym typeface="Proxima Nova"/>
                  </a:rPr>
                  <a:t>BANGALORE</a:t>
                </a:r>
              </a:p>
              <a:p>
                <a:pPr defTabSz="1218804" hangingPunct="0">
                  <a:defRPr sz="1200" b="1">
                    <a:latin typeface="Proxima Nova"/>
                    <a:ea typeface="Proxima Nova"/>
                    <a:cs typeface="Proxima Nova"/>
                    <a:sym typeface="Proxima Nova"/>
                  </a:defRPr>
                </a:pPr>
                <a:endParaRPr sz="1200" b="1" kern="0" dirty="0">
                  <a:solidFill>
                    <a:srgbClr val="000000"/>
                  </a:solidFill>
                  <a:latin typeface="Lato" charset="0"/>
                  <a:ea typeface="Lato" charset="0"/>
                  <a:cs typeface="Lato" charset="0"/>
                  <a:sym typeface="Proxima Nova"/>
                </a:endParaRPr>
              </a:p>
              <a:p>
                <a:pPr defTabSz="1218804" hangingPunct="0">
                  <a:defRPr sz="1200">
                    <a:latin typeface="Proxima Nova"/>
                    <a:ea typeface="Proxima Nova"/>
                    <a:cs typeface="Proxima Nova"/>
                    <a:sym typeface="Proxima Nova"/>
                  </a:defRPr>
                </a:pPr>
                <a:r>
                  <a:rPr sz="1200" kern="0" dirty="0">
                    <a:solidFill>
                      <a:srgbClr val="FFFFFF">
                        <a:lumMod val="50000"/>
                      </a:srgbClr>
                    </a:solidFill>
                    <a:latin typeface="Lato" charset="0"/>
                    <a:ea typeface="Lato" charset="0"/>
                    <a:cs typeface="Lato" charset="0"/>
                    <a:sym typeface="Proxima Nova"/>
                  </a:rPr>
                  <a:t>3rd floor, Anand Bhavan</a:t>
                </a:r>
              </a:p>
              <a:p>
                <a:pPr defTabSz="1218804" hangingPunct="0">
                  <a:defRPr sz="1200">
                    <a:latin typeface="Proxima Nova"/>
                    <a:ea typeface="Proxima Nova"/>
                    <a:cs typeface="Proxima Nova"/>
                    <a:sym typeface="Proxima Nova"/>
                  </a:defRPr>
                </a:pPr>
                <a:r>
                  <a:rPr sz="1200" kern="0" dirty="0">
                    <a:solidFill>
                      <a:srgbClr val="FFFFFF">
                        <a:lumMod val="50000"/>
                      </a:srgbClr>
                    </a:solidFill>
                    <a:latin typeface="Lato" charset="0"/>
                    <a:ea typeface="Lato" charset="0"/>
                    <a:cs typeface="Lato" charset="0"/>
                    <a:sym typeface="Proxima Nova"/>
                  </a:rPr>
                  <a:t>#9, Netkallappa circle,</a:t>
                </a:r>
                <a:r>
                  <a:rPr lang="en-US" sz="1200" kern="0" dirty="0">
                    <a:solidFill>
                      <a:srgbClr val="FFFFFF">
                        <a:lumMod val="50000"/>
                      </a:srgbClr>
                    </a:solidFill>
                    <a:latin typeface="Lato" charset="0"/>
                    <a:ea typeface="Lato" charset="0"/>
                    <a:cs typeface="Lato" charset="0"/>
                    <a:sym typeface="Proxima Nova"/>
                  </a:rPr>
                  <a:t> </a:t>
                </a:r>
                <a:r>
                  <a:rPr sz="1200" kern="0" dirty="0">
                    <a:solidFill>
                      <a:srgbClr val="FFFFFF">
                        <a:lumMod val="50000"/>
                      </a:srgbClr>
                    </a:solidFill>
                    <a:latin typeface="Lato" charset="0"/>
                    <a:ea typeface="Lato" charset="0"/>
                    <a:cs typeface="Lato" charset="0"/>
                    <a:sym typeface="Proxima Nova"/>
                  </a:rPr>
                  <a:t>Basavanagudi</a:t>
                </a:r>
              </a:p>
              <a:p>
                <a:pPr defTabSz="1218804" hangingPunct="0">
                  <a:defRPr sz="1200">
                    <a:latin typeface="Proxima Nova"/>
                    <a:ea typeface="Proxima Nova"/>
                    <a:cs typeface="Proxima Nova"/>
                    <a:sym typeface="Proxima Nova"/>
                  </a:defRPr>
                </a:pPr>
                <a:r>
                  <a:rPr sz="1200" kern="0" dirty="0">
                    <a:solidFill>
                      <a:srgbClr val="FFFFFF">
                        <a:lumMod val="50000"/>
                      </a:srgbClr>
                    </a:solidFill>
                    <a:latin typeface="Lato" charset="0"/>
                    <a:ea typeface="Lato" charset="0"/>
                    <a:cs typeface="Lato" charset="0"/>
                    <a:sym typeface="Proxima Nova"/>
                  </a:rPr>
                  <a:t>Bangalore</a:t>
                </a:r>
                <a:r>
                  <a:rPr lang="en-US" sz="1200" kern="0" dirty="0">
                    <a:solidFill>
                      <a:srgbClr val="FFFFFF">
                        <a:lumMod val="50000"/>
                      </a:srgbClr>
                    </a:solidFill>
                    <a:latin typeface="Lato" charset="0"/>
                    <a:ea typeface="Lato" charset="0"/>
                    <a:cs typeface="Lato" charset="0"/>
                    <a:sym typeface="Proxima Nova"/>
                  </a:rPr>
                  <a:t> – </a:t>
                </a:r>
                <a:r>
                  <a:rPr sz="1200" kern="0" dirty="0">
                    <a:solidFill>
                      <a:srgbClr val="FFFFFF">
                        <a:lumMod val="50000"/>
                      </a:srgbClr>
                    </a:solidFill>
                    <a:latin typeface="Lato" charset="0"/>
                    <a:ea typeface="Lato" charset="0"/>
                    <a:cs typeface="Lato" charset="0"/>
                    <a:sym typeface="Proxima Nova"/>
                  </a:rPr>
                  <a:t>560</a:t>
                </a:r>
                <a:r>
                  <a:rPr lang="en-US" sz="1200" kern="0" dirty="0">
                    <a:solidFill>
                      <a:srgbClr val="FFFFFF">
                        <a:lumMod val="50000"/>
                      </a:srgbClr>
                    </a:solidFill>
                    <a:latin typeface="Lato" charset="0"/>
                    <a:ea typeface="Lato" charset="0"/>
                    <a:cs typeface="Lato" charset="0"/>
                    <a:sym typeface="Proxima Nova"/>
                  </a:rPr>
                  <a:t> </a:t>
                </a:r>
                <a:r>
                  <a:rPr sz="1200" kern="0" dirty="0">
                    <a:solidFill>
                      <a:srgbClr val="FFFFFF">
                        <a:lumMod val="50000"/>
                      </a:srgbClr>
                    </a:solidFill>
                    <a:latin typeface="Lato" charset="0"/>
                    <a:ea typeface="Lato" charset="0"/>
                    <a:cs typeface="Lato" charset="0"/>
                    <a:sym typeface="Proxima Nova"/>
                  </a:rPr>
                  <a:t>004</a:t>
                </a:r>
                <a:endParaRPr lang="en-US" sz="1200" kern="0" dirty="0">
                  <a:solidFill>
                    <a:srgbClr val="FFFFFF">
                      <a:lumMod val="50000"/>
                    </a:srgbClr>
                  </a:solidFill>
                  <a:latin typeface="Lato" charset="0"/>
                  <a:ea typeface="Lato" charset="0"/>
                  <a:cs typeface="Lato" charset="0"/>
                  <a:sym typeface="Proxima Nova"/>
                </a:endParaRPr>
              </a:p>
              <a:p>
                <a:pPr defTabSz="1218804" hangingPunct="0">
                  <a:defRPr sz="1200">
                    <a:latin typeface="Proxima Nova"/>
                    <a:ea typeface="Proxima Nova"/>
                    <a:cs typeface="Proxima Nova"/>
                    <a:sym typeface="Proxima Nova"/>
                  </a:defRPr>
                </a:pPr>
                <a:r>
                  <a:rPr lang="en-US" sz="1200" kern="0" dirty="0">
                    <a:solidFill>
                      <a:srgbClr val="FFFFFF">
                        <a:lumMod val="50000"/>
                      </a:srgbClr>
                    </a:solidFill>
                    <a:latin typeface="Lato" charset="0"/>
                    <a:ea typeface="Lato" charset="0"/>
                    <a:cs typeface="Lato" charset="0"/>
                    <a:sym typeface="Proxima Nova"/>
                  </a:rPr>
                  <a:t>Karnataka</a:t>
                </a:r>
                <a:endParaRPr sz="1200" kern="0" dirty="0">
                  <a:solidFill>
                    <a:srgbClr val="FFFFFF">
                      <a:lumMod val="50000"/>
                    </a:srgbClr>
                  </a:solidFill>
                  <a:latin typeface="Lato" charset="0"/>
                  <a:ea typeface="Lato" charset="0"/>
                  <a:cs typeface="Lato" charset="0"/>
                  <a:sym typeface="Proxima Nova"/>
                </a:endParaRPr>
              </a:p>
              <a:p>
                <a:pPr defTabSz="1218804" hangingPunct="0">
                  <a:defRPr sz="1200">
                    <a:latin typeface="Proxima Nova"/>
                    <a:ea typeface="Proxima Nova"/>
                    <a:cs typeface="Proxima Nova"/>
                    <a:sym typeface="Proxima Nova"/>
                  </a:defRPr>
                </a:pPr>
                <a:r>
                  <a:rPr sz="1200" kern="0" dirty="0">
                    <a:solidFill>
                      <a:srgbClr val="FFFFFF">
                        <a:lumMod val="50000"/>
                      </a:srgbClr>
                    </a:solidFill>
                    <a:latin typeface="Lato" charset="0"/>
                    <a:ea typeface="Lato" charset="0"/>
                    <a:cs typeface="Lato" charset="0"/>
                    <a:sym typeface="Proxima Nova"/>
                  </a:rPr>
                  <a:t>Phone: +91</a:t>
                </a:r>
                <a:r>
                  <a:rPr lang="en-US" sz="1200" kern="0" dirty="0">
                    <a:solidFill>
                      <a:srgbClr val="FFFFFF">
                        <a:lumMod val="50000"/>
                      </a:srgbClr>
                    </a:solidFill>
                    <a:latin typeface="Lato" charset="0"/>
                    <a:ea typeface="Lato" charset="0"/>
                    <a:cs typeface="Lato" charset="0"/>
                    <a:sym typeface="Proxima Nova"/>
                  </a:rPr>
                  <a:t> (0)</a:t>
                </a:r>
                <a:r>
                  <a:rPr sz="1200" kern="0" dirty="0">
                    <a:solidFill>
                      <a:srgbClr val="FFFFFF">
                        <a:lumMod val="50000"/>
                      </a:srgbClr>
                    </a:solidFill>
                    <a:latin typeface="Lato" charset="0"/>
                    <a:ea typeface="Lato" charset="0"/>
                    <a:cs typeface="Lato" charset="0"/>
                    <a:sym typeface="Proxima Nova"/>
                  </a:rPr>
                  <a:t>80</a:t>
                </a:r>
                <a:r>
                  <a:rPr lang="en-US" sz="1200" kern="0" dirty="0">
                    <a:solidFill>
                      <a:srgbClr val="FFFFFF">
                        <a:lumMod val="50000"/>
                      </a:srgbClr>
                    </a:solidFill>
                    <a:latin typeface="Lato" charset="0"/>
                    <a:ea typeface="Lato" charset="0"/>
                    <a:cs typeface="Lato" charset="0"/>
                    <a:sym typeface="Proxima Nova"/>
                  </a:rPr>
                  <a:t> </a:t>
                </a:r>
                <a:r>
                  <a:rPr sz="1200" kern="0" dirty="0">
                    <a:solidFill>
                      <a:srgbClr val="FFFFFF">
                        <a:lumMod val="50000"/>
                      </a:srgbClr>
                    </a:solidFill>
                    <a:latin typeface="Lato" charset="0"/>
                    <a:ea typeface="Lato" charset="0"/>
                    <a:cs typeface="Lato" charset="0"/>
                    <a:sym typeface="Proxima Nova"/>
                  </a:rPr>
                  <a:t>40447400</a:t>
                </a:r>
              </a:p>
            </p:txBody>
          </p:sp>
          <p:sp>
            <p:nvSpPr>
              <p:cNvPr id="30" name="Shape 1227"/>
              <p:cNvSpPr/>
              <p:nvPr/>
            </p:nvSpPr>
            <p:spPr>
              <a:xfrm>
                <a:off x="322701" y="3769446"/>
                <a:ext cx="2207105" cy="923331"/>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ctr">
                <a:spAutoFit/>
              </a:bodyPr>
              <a:lstStyle/>
              <a:p>
                <a:pPr defTabSz="1218804" hangingPunct="0">
                  <a:defRPr sz="1200" b="1">
                    <a:latin typeface="Proxima Nova"/>
                    <a:ea typeface="Proxima Nova"/>
                    <a:cs typeface="Proxima Nova"/>
                    <a:sym typeface="Proxima Nova"/>
                  </a:defRPr>
                </a:pPr>
                <a:r>
                  <a:rPr sz="1200" b="1" kern="0" dirty="0">
                    <a:solidFill>
                      <a:srgbClr val="000000"/>
                    </a:solidFill>
                    <a:latin typeface="Lato" charset="0"/>
                    <a:ea typeface="Lato" charset="0"/>
                    <a:cs typeface="Lato" charset="0"/>
                    <a:sym typeface="Proxima Nova"/>
                  </a:rPr>
                  <a:t>S</a:t>
                </a:r>
                <a:r>
                  <a:rPr lang="en-US" sz="1200" b="1" kern="0" dirty="0">
                    <a:solidFill>
                      <a:srgbClr val="000000"/>
                    </a:solidFill>
                    <a:latin typeface="Lato" charset="0"/>
                    <a:ea typeface="Lato" charset="0"/>
                    <a:cs typeface="Lato" charset="0"/>
                    <a:sym typeface="Proxima Nova"/>
                  </a:rPr>
                  <a:t>WITZERLAND</a:t>
                </a:r>
              </a:p>
              <a:p>
                <a:pPr defTabSz="1218804" hangingPunct="0">
                  <a:defRPr sz="1200" b="1">
                    <a:latin typeface="Proxima Nova"/>
                    <a:ea typeface="Proxima Nova"/>
                    <a:cs typeface="Proxima Nova"/>
                    <a:sym typeface="Proxima Nova"/>
                  </a:defRPr>
                </a:pPr>
                <a:endParaRPr sz="1200" b="1" kern="0" dirty="0">
                  <a:solidFill>
                    <a:srgbClr val="000000"/>
                  </a:solidFill>
                  <a:latin typeface="Lato" charset="0"/>
                  <a:ea typeface="Lato" charset="0"/>
                  <a:cs typeface="Lato" charset="0"/>
                  <a:sym typeface="Proxima Nova"/>
                </a:endParaRPr>
              </a:p>
              <a:p>
                <a:pPr defTabSz="1218804" hangingPunct="0">
                  <a:defRPr sz="1200">
                    <a:latin typeface="Proxima Nova"/>
                    <a:ea typeface="Proxima Nova"/>
                    <a:cs typeface="Proxima Nova"/>
                    <a:sym typeface="Proxima Nova"/>
                  </a:defRPr>
                </a:pPr>
                <a:r>
                  <a:rPr sz="1200" kern="0" dirty="0">
                    <a:solidFill>
                      <a:srgbClr val="FFFFFF">
                        <a:lumMod val="50000"/>
                      </a:srgbClr>
                    </a:solidFill>
                    <a:latin typeface="Lato" charset="0"/>
                    <a:ea typeface="Lato" charset="0"/>
                    <a:cs typeface="Lato" charset="0"/>
                    <a:sym typeface="Proxima Nova"/>
                  </a:rPr>
                  <a:t>Innominds GmBH,</a:t>
                </a:r>
              </a:p>
              <a:p>
                <a:pPr defTabSz="1218804" hangingPunct="0">
                  <a:defRPr sz="1200">
                    <a:latin typeface="Proxima Nova"/>
                    <a:ea typeface="Proxima Nova"/>
                    <a:cs typeface="Proxima Nova"/>
                    <a:sym typeface="Proxima Nova"/>
                  </a:defRPr>
                </a:pPr>
                <a:r>
                  <a:rPr sz="1200" kern="0" dirty="0">
                    <a:solidFill>
                      <a:srgbClr val="FFFFFF">
                        <a:lumMod val="50000"/>
                      </a:srgbClr>
                    </a:solidFill>
                    <a:latin typeface="Lato" charset="0"/>
                    <a:ea typeface="Lato" charset="0"/>
                    <a:cs typeface="Lato" charset="0"/>
                    <a:sym typeface="Proxima Nova"/>
                  </a:rPr>
                  <a:t>Gotthardstrasse 28,</a:t>
                </a:r>
              </a:p>
              <a:p>
                <a:pPr defTabSz="1218804" hangingPunct="0">
                  <a:defRPr sz="1200">
                    <a:latin typeface="Proxima Nova"/>
                    <a:ea typeface="Proxima Nova"/>
                    <a:cs typeface="Proxima Nova"/>
                    <a:sym typeface="Proxima Nova"/>
                  </a:defRPr>
                </a:pPr>
                <a:r>
                  <a:rPr sz="1200" kern="0" dirty="0">
                    <a:solidFill>
                      <a:srgbClr val="FFFFFF">
                        <a:lumMod val="50000"/>
                      </a:srgbClr>
                    </a:solidFill>
                    <a:latin typeface="Lato" charset="0"/>
                    <a:ea typeface="Lato" charset="0"/>
                    <a:cs typeface="Lato" charset="0"/>
                    <a:sym typeface="Proxima Nova"/>
                  </a:rPr>
                  <a:t>CH-6304 Zug,</a:t>
                </a:r>
              </a:p>
              <a:p>
                <a:pPr defTabSz="1218804" hangingPunct="0">
                  <a:defRPr sz="1200">
                    <a:latin typeface="Proxima Nova"/>
                    <a:ea typeface="Proxima Nova"/>
                    <a:cs typeface="Proxima Nova"/>
                    <a:sym typeface="Proxima Nova"/>
                  </a:defRPr>
                </a:pPr>
                <a:r>
                  <a:rPr sz="1200" kern="0" dirty="0">
                    <a:solidFill>
                      <a:srgbClr val="FFFFFF">
                        <a:lumMod val="50000"/>
                      </a:srgbClr>
                    </a:solidFill>
                    <a:latin typeface="Lato" charset="0"/>
                    <a:ea typeface="Lato" charset="0"/>
                    <a:cs typeface="Lato" charset="0"/>
                    <a:sym typeface="Proxima Nova"/>
                  </a:rPr>
                  <a:t>Switzerland</a:t>
                </a:r>
              </a:p>
            </p:txBody>
          </p:sp>
          <p:sp>
            <p:nvSpPr>
              <p:cNvPr id="31" name="Shape 1226"/>
              <p:cNvSpPr/>
              <p:nvPr/>
            </p:nvSpPr>
            <p:spPr>
              <a:xfrm>
                <a:off x="6167465" y="3782062"/>
                <a:ext cx="1657021" cy="1077219"/>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ctr">
                <a:spAutoFit/>
              </a:bodyPr>
              <a:lstStyle/>
              <a:p>
                <a:pPr defTabSz="1218804" hangingPunct="0">
                  <a:defRPr sz="1200" b="1">
                    <a:latin typeface="Proxima Nova"/>
                    <a:ea typeface="Proxima Nova"/>
                    <a:cs typeface="Proxima Nova"/>
                    <a:sym typeface="Proxima Nova"/>
                  </a:defRPr>
                </a:pPr>
                <a:r>
                  <a:rPr lang="en-US" sz="1200" b="1" kern="0" dirty="0">
                    <a:solidFill>
                      <a:srgbClr val="000000"/>
                    </a:solidFill>
                    <a:latin typeface="Lato" charset="0"/>
                    <a:ea typeface="Lato" charset="0"/>
                    <a:cs typeface="Lato" charset="0"/>
                    <a:sym typeface="Proxima Nova"/>
                  </a:rPr>
                  <a:t>VISAKHAPATNAM</a:t>
                </a:r>
              </a:p>
              <a:p>
                <a:pPr defTabSz="1218804" hangingPunct="0">
                  <a:defRPr sz="1200" b="1">
                    <a:latin typeface="Proxima Nova"/>
                    <a:ea typeface="Proxima Nova"/>
                    <a:cs typeface="Proxima Nova"/>
                    <a:sym typeface="Proxima Nova"/>
                  </a:defRPr>
                </a:pPr>
                <a:endParaRPr lang="en-US" sz="1200" b="1" kern="0" dirty="0">
                  <a:solidFill>
                    <a:srgbClr val="000000"/>
                  </a:solidFill>
                  <a:latin typeface="Lato" charset="0"/>
                  <a:ea typeface="Lato" charset="0"/>
                  <a:cs typeface="Lato" charset="0"/>
                  <a:sym typeface="Proxima Nova"/>
                </a:endParaRPr>
              </a:p>
              <a:p>
                <a:pPr defTabSz="1462522" hangingPunct="0">
                  <a:defRPr sz="1200">
                    <a:latin typeface="Proxima Nova"/>
                    <a:ea typeface="Proxima Nova"/>
                    <a:cs typeface="Proxima Nova"/>
                    <a:sym typeface="Proxima Nova"/>
                  </a:defRPr>
                </a:pPr>
                <a:r>
                  <a:rPr lang="en-US" sz="1200" kern="0" dirty="0">
                    <a:solidFill>
                      <a:srgbClr val="FFFFFF">
                        <a:lumMod val="50000"/>
                      </a:srgbClr>
                    </a:solidFill>
                    <a:latin typeface="Lato" charset="0"/>
                    <a:ea typeface="Lato" charset="0"/>
                    <a:cs typeface="Lato" charset="0"/>
                    <a:sym typeface="Proxima Nova"/>
                  </a:rPr>
                  <a:t>Hill No 3 APIIC IT / ITES SEZ,</a:t>
                </a:r>
              </a:p>
              <a:p>
                <a:pPr defTabSz="1462522" hangingPunct="0">
                  <a:defRPr sz="1200">
                    <a:latin typeface="Proxima Nova"/>
                    <a:ea typeface="Proxima Nova"/>
                    <a:cs typeface="Proxima Nova"/>
                    <a:sym typeface="Proxima Nova"/>
                  </a:defRPr>
                </a:pPr>
                <a:r>
                  <a:rPr lang="en-US" sz="1200" kern="0" dirty="0">
                    <a:solidFill>
                      <a:srgbClr val="FFFFFF">
                        <a:lumMod val="50000"/>
                      </a:srgbClr>
                    </a:solidFill>
                    <a:latin typeface="Lato" charset="0"/>
                    <a:ea typeface="Lato" charset="0"/>
                    <a:cs typeface="Lato" charset="0"/>
                    <a:sym typeface="Proxima Nova"/>
                  </a:rPr>
                  <a:t>Rushikonda  </a:t>
                </a:r>
              </a:p>
              <a:p>
                <a:pPr defTabSz="1462522" hangingPunct="0">
                  <a:defRPr sz="1200">
                    <a:latin typeface="Proxima Nova"/>
                    <a:ea typeface="Proxima Nova"/>
                    <a:cs typeface="Proxima Nova"/>
                    <a:sym typeface="Proxima Nova"/>
                  </a:defRPr>
                </a:pPr>
                <a:r>
                  <a:rPr lang="en-US" sz="1200" kern="0" dirty="0">
                    <a:solidFill>
                      <a:srgbClr val="FFFFFF">
                        <a:lumMod val="50000"/>
                      </a:srgbClr>
                    </a:solidFill>
                    <a:latin typeface="Lato" charset="0"/>
                    <a:ea typeface="Lato" charset="0"/>
                    <a:cs typeface="Lato" charset="0"/>
                    <a:sym typeface="Proxima Nova"/>
                  </a:rPr>
                  <a:t>Visakhapatnam -530034</a:t>
                </a:r>
              </a:p>
              <a:p>
                <a:pPr defTabSz="1462522" hangingPunct="0">
                  <a:defRPr sz="1200">
                    <a:latin typeface="Proxima Nova"/>
                    <a:ea typeface="Proxima Nova"/>
                    <a:cs typeface="Proxima Nova"/>
                    <a:sym typeface="Proxima Nova"/>
                  </a:defRPr>
                </a:pPr>
                <a:r>
                  <a:rPr lang="en-US" sz="1200" kern="0" dirty="0">
                    <a:solidFill>
                      <a:srgbClr val="FFFFFF">
                        <a:lumMod val="50000"/>
                      </a:srgbClr>
                    </a:solidFill>
                    <a:latin typeface="Lato" charset="0"/>
                    <a:ea typeface="Lato" charset="0"/>
                    <a:cs typeface="Lato" charset="0"/>
                    <a:sym typeface="Proxima Nova"/>
                  </a:rPr>
                  <a:t>Andhra Pradesh</a:t>
                </a:r>
              </a:p>
              <a:p>
                <a:pPr defTabSz="1462522" hangingPunct="0">
                  <a:defRPr sz="1200">
                    <a:latin typeface="Proxima Nova"/>
                    <a:ea typeface="Proxima Nova"/>
                    <a:cs typeface="Proxima Nova"/>
                    <a:sym typeface="Proxima Nova"/>
                  </a:defRPr>
                </a:pPr>
                <a:endParaRPr lang="en-US" sz="1200" kern="0" dirty="0">
                  <a:solidFill>
                    <a:srgbClr val="FFFFFF">
                      <a:lumMod val="50000"/>
                    </a:srgbClr>
                  </a:solidFill>
                  <a:latin typeface="Lato" charset="0"/>
                  <a:ea typeface="Lato" charset="0"/>
                  <a:cs typeface="Lato" charset="0"/>
                  <a:sym typeface="Proxima Nova"/>
                </a:endParaRPr>
              </a:p>
            </p:txBody>
          </p:sp>
        </p:grpSp>
      </p:grpSp>
      <p:sp>
        <p:nvSpPr>
          <p:cNvPr id="32" name="Shape 417"/>
          <p:cNvSpPr/>
          <p:nvPr userDrawn="1"/>
        </p:nvSpPr>
        <p:spPr>
          <a:xfrm>
            <a:off x="431157" y="391172"/>
            <a:ext cx="10790431" cy="424732"/>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ctr">
            <a:spAutoFit/>
          </a:bodyPr>
          <a:lstStyle/>
          <a:p>
            <a:pPr defTabSz="1218804" hangingPunct="0">
              <a:defRPr sz="2800">
                <a:solidFill>
                  <a:srgbClr val="4D4D4D"/>
                </a:solidFill>
                <a:latin typeface="Lato Light"/>
                <a:ea typeface="Lato Light"/>
                <a:cs typeface="Lato Light"/>
                <a:sym typeface="Lato Light"/>
              </a:defRPr>
            </a:pPr>
            <a:r>
              <a:rPr lang="en-US" sz="2760" kern="0" dirty="0">
                <a:solidFill>
                  <a:srgbClr val="4D4D4D"/>
                </a:solidFill>
                <a:latin typeface="Lato Light"/>
                <a:ea typeface="Lato Light"/>
                <a:cs typeface="Lato Light"/>
                <a:sym typeface="Lato Light"/>
              </a:rPr>
              <a:t>GLOBAL </a:t>
            </a:r>
            <a:r>
              <a:rPr lang="en-US" sz="2760" b="1" kern="0" dirty="0">
                <a:solidFill>
                  <a:srgbClr val="4D4D4D"/>
                </a:solidFill>
                <a:latin typeface="Lato Heavy"/>
                <a:ea typeface="Lato Heavy"/>
                <a:cs typeface="Lato Heavy"/>
                <a:sym typeface="Lato Heavy"/>
              </a:rPr>
              <a:t>LOCATIONS</a:t>
            </a:r>
          </a:p>
        </p:txBody>
      </p:sp>
    </p:spTree>
    <p:extLst>
      <p:ext uri="{BB962C8B-B14F-4D97-AF65-F5344CB8AC3E}">
        <p14:creationId xmlns:p14="http://schemas.microsoft.com/office/powerpoint/2010/main" val="2418729199"/>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_Title with footer">
    <p:spTree>
      <p:nvGrpSpPr>
        <p:cNvPr id="1" name=""/>
        <p:cNvGrpSpPr/>
        <p:nvPr/>
      </p:nvGrpSpPr>
      <p:grpSpPr>
        <a:xfrm>
          <a:off x="0" y="0"/>
          <a:ext cx="0" cy="0"/>
          <a:chOff x="0" y="0"/>
          <a:chExt cx="0" cy="0"/>
        </a:xfrm>
      </p:grpSpPr>
      <p:sp>
        <p:nvSpPr>
          <p:cNvPr id="10" name="Shape 144"/>
          <p:cNvSpPr/>
          <p:nvPr userDrawn="1"/>
        </p:nvSpPr>
        <p:spPr>
          <a:xfrm>
            <a:off x="954" y="6537960"/>
            <a:ext cx="12190096" cy="320040"/>
          </a:xfrm>
          <a:prstGeom prst="rect">
            <a:avLst/>
          </a:prstGeom>
          <a:solidFill>
            <a:srgbClr val="3D4045"/>
          </a:solidFill>
          <a:ln w="12700">
            <a:miter lim="400000"/>
          </a:ln>
        </p:spPr>
        <p:txBody>
          <a:bodyPr lIns="54863" rIns="54863" anchor="ctr"/>
          <a:lstStyle/>
          <a:p>
            <a:pPr algn="ctr" defTabSz="1097435" hangingPunct="0">
              <a:defRPr>
                <a:solidFill>
                  <a:srgbClr val="FFFFFF"/>
                </a:solidFill>
              </a:defRPr>
            </a:pPr>
            <a:r>
              <a:rPr lang="en-US" sz="1080" kern="0" dirty="0">
                <a:solidFill>
                  <a:srgbClr val="FFFFFF">
                    <a:lumMod val="85000"/>
                  </a:srgbClr>
                </a:solidFill>
                <a:latin typeface="Lato Light" charset="0"/>
                <a:ea typeface="Lato Light" charset="0"/>
                <a:cs typeface="Lato Light" charset="0"/>
                <a:sym typeface="Arial"/>
              </a:rPr>
              <a:t>© 2018 Innominds — All rights reserved — Confidential</a:t>
            </a:r>
          </a:p>
        </p:txBody>
      </p:sp>
      <p:pic>
        <p:nvPicPr>
          <p:cNvPr id="5" name="image10.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049" y="6502293"/>
            <a:ext cx="878296" cy="391381"/>
          </a:xfrm>
          <a:prstGeom prst="rect">
            <a:avLst/>
          </a:prstGeom>
          <a:ln w="12700">
            <a:miter lim="400000"/>
          </a:ln>
        </p:spPr>
      </p:pic>
      <p:sp>
        <p:nvSpPr>
          <p:cNvPr id="15" name="Shape 145"/>
          <p:cNvSpPr/>
          <p:nvPr userDrawn="1"/>
        </p:nvSpPr>
        <p:spPr>
          <a:xfrm>
            <a:off x="11753902" y="6595065"/>
            <a:ext cx="320123" cy="205826"/>
          </a:xfrm>
          <a:prstGeom prst="rect">
            <a:avLst/>
          </a:prstGeom>
          <a:solidFill>
            <a:srgbClr val="E94924"/>
          </a:solidFill>
          <a:ln w="12700" cap="flat">
            <a:noFill/>
            <a:miter lim="400000"/>
          </a:ln>
          <a:effectLst/>
        </p:spPr>
        <p:txBody>
          <a:bodyPr wrap="square" lIns="54863" tIns="54863" rIns="54863" bIns="54863" numCol="1" anchor="ctr">
            <a:noAutofit/>
          </a:bodyPr>
          <a:lstStyle/>
          <a:p>
            <a:pPr algn="ctr" defTabSz="1218804" hangingPunct="0">
              <a:defRPr>
                <a:solidFill>
                  <a:srgbClr val="FFFFFF"/>
                </a:solidFill>
              </a:defRPr>
            </a:pPr>
            <a:fld id="{41B5EDD4-2ADD-0542-B90E-FC6D1AD5AE98}" type="slidenum">
              <a:rPr lang="uk-UA" sz="900" b="1" kern="0" smtClean="0">
                <a:solidFill>
                  <a:srgbClr val="FFFFFF"/>
                </a:solidFill>
                <a:latin typeface="Lato Black" charset="0"/>
                <a:ea typeface="Lato Black" charset="0"/>
                <a:cs typeface="Lato Black" charset="0"/>
                <a:sym typeface="Arial"/>
              </a:rPr>
              <a:pPr algn="ctr" defTabSz="1218804" hangingPunct="0">
                <a:defRPr>
                  <a:solidFill>
                    <a:srgbClr val="FFFFFF"/>
                  </a:solidFill>
                </a:defRPr>
              </a:pPr>
              <a:t>‹#›</a:t>
            </a:fld>
            <a:endParaRPr sz="900" b="1" kern="0" dirty="0">
              <a:solidFill>
                <a:srgbClr val="FFFFFF"/>
              </a:solidFill>
              <a:latin typeface="Lato Black" charset="0"/>
              <a:ea typeface="Lato Black" charset="0"/>
              <a:cs typeface="Lato Black" charset="0"/>
              <a:sym typeface="Arial"/>
            </a:endParaRPr>
          </a:p>
        </p:txBody>
      </p:sp>
      <p:sp>
        <p:nvSpPr>
          <p:cNvPr id="9" name="Freeform 5">
            <a:extLst>
              <a:ext uri="{FF2B5EF4-FFF2-40B4-BE49-F238E27FC236}">
                <a16:creationId xmlns:a16="http://schemas.microsoft.com/office/drawing/2014/main" id="{65872004-AC0D-4941-827B-A05383A3274F}"/>
              </a:ext>
            </a:extLst>
          </p:cNvPr>
          <p:cNvSpPr>
            <a:spLocks/>
          </p:cNvSpPr>
          <p:nvPr userDrawn="1"/>
        </p:nvSpPr>
        <p:spPr bwMode="auto">
          <a:xfrm rot="16200000">
            <a:off x="-1350461" y="1783577"/>
            <a:ext cx="6094536" cy="3393612"/>
          </a:xfrm>
          <a:custGeom>
            <a:avLst/>
            <a:gdLst>
              <a:gd name="T0" fmla="*/ 998 w 998"/>
              <a:gd name="T1" fmla="*/ 0 h 556"/>
              <a:gd name="T2" fmla="*/ 0 w 998"/>
              <a:gd name="T3" fmla="*/ 0 h 556"/>
              <a:gd name="T4" fmla="*/ 0 w 998"/>
              <a:gd name="T5" fmla="*/ 556 h 556"/>
              <a:gd name="T6" fmla="*/ 540 w 998"/>
              <a:gd name="T7" fmla="*/ 392 h 556"/>
              <a:gd name="T8" fmla="*/ 998 w 998"/>
              <a:gd name="T9" fmla="*/ 0 h 556"/>
            </a:gdLst>
            <a:ahLst/>
            <a:cxnLst>
              <a:cxn ang="0">
                <a:pos x="T0" y="T1"/>
              </a:cxn>
              <a:cxn ang="0">
                <a:pos x="T2" y="T3"/>
              </a:cxn>
              <a:cxn ang="0">
                <a:pos x="T4" y="T5"/>
              </a:cxn>
              <a:cxn ang="0">
                <a:pos x="T6" y="T7"/>
              </a:cxn>
              <a:cxn ang="0">
                <a:pos x="T8" y="T9"/>
              </a:cxn>
            </a:cxnLst>
            <a:rect l="0" t="0" r="r" b="b"/>
            <a:pathLst>
              <a:path w="998" h="556">
                <a:moveTo>
                  <a:pt x="998" y="0"/>
                </a:moveTo>
                <a:cubicBezTo>
                  <a:pt x="0" y="0"/>
                  <a:pt x="0" y="0"/>
                  <a:pt x="0" y="0"/>
                </a:cubicBezTo>
                <a:cubicBezTo>
                  <a:pt x="0" y="556"/>
                  <a:pt x="0" y="556"/>
                  <a:pt x="0" y="556"/>
                </a:cubicBezTo>
                <a:cubicBezTo>
                  <a:pt x="175" y="539"/>
                  <a:pt x="362" y="485"/>
                  <a:pt x="540" y="392"/>
                </a:cubicBezTo>
                <a:cubicBezTo>
                  <a:pt x="739" y="287"/>
                  <a:pt x="894" y="148"/>
                  <a:pt x="998" y="0"/>
                </a:cubicBezTo>
                <a:close/>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pPr defTabSz="1218804" hangingPunct="0"/>
            <a:endParaRPr lang="en-US" sz="1866" kern="0" dirty="0">
              <a:solidFill>
                <a:srgbClr val="000000"/>
              </a:solidFill>
              <a:sym typeface="Arial"/>
            </a:endParaRPr>
          </a:p>
        </p:txBody>
      </p:sp>
      <p:sp>
        <p:nvSpPr>
          <p:cNvPr id="11" name="Freeform 6">
            <a:extLst>
              <a:ext uri="{FF2B5EF4-FFF2-40B4-BE49-F238E27FC236}">
                <a16:creationId xmlns:a16="http://schemas.microsoft.com/office/drawing/2014/main" id="{FBF527E2-B578-7D41-8697-0AB3EC14B0A9}"/>
              </a:ext>
            </a:extLst>
          </p:cNvPr>
          <p:cNvSpPr>
            <a:spLocks/>
          </p:cNvSpPr>
          <p:nvPr userDrawn="1"/>
        </p:nvSpPr>
        <p:spPr bwMode="auto">
          <a:xfrm rot="16200000">
            <a:off x="194257" y="1730"/>
            <a:ext cx="6527650" cy="6524193"/>
          </a:xfrm>
          <a:custGeom>
            <a:avLst/>
            <a:gdLst>
              <a:gd name="T0" fmla="*/ 404 w 1069"/>
              <a:gd name="T1" fmla="*/ 440 h 1069"/>
              <a:gd name="T2" fmla="*/ 0 w 1069"/>
              <a:gd name="T3" fmla="*/ 572 h 1069"/>
              <a:gd name="T4" fmla="*/ 0 w 1069"/>
              <a:gd name="T5" fmla="*/ 1069 h 1069"/>
              <a:gd name="T6" fmla="*/ 428 w 1069"/>
              <a:gd name="T7" fmla="*/ 772 h 1069"/>
              <a:gd name="T8" fmla="*/ 1069 w 1069"/>
              <a:gd name="T9" fmla="*/ 511 h 1069"/>
              <a:gd name="T10" fmla="*/ 1069 w 1069"/>
              <a:gd name="T11" fmla="*/ 0 h 1069"/>
              <a:gd name="T12" fmla="*/ 404 w 1069"/>
              <a:gd name="T13" fmla="*/ 440 h 1069"/>
            </a:gdLst>
            <a:ahLst/>
            <a:cxnLst>
              <a:cxn ang="0">
                <a:pos x="T0" y="T1"/>
              </a:cxn>
              <a:cxn ang="0">
                <a:pos x="T2" y="T3"/>
              </a:cxn>
              <a:cxn ang="0">
                <a:pos x="T4" y="T5"/>
              </a:cxn>
              <a:cxn ang="0">
                <a:pos x="T6" y="T7"/>
              </a:cxn>
              <a:cxn ang="0">
                <a:pos x="T8" y="T9"/>
              </a:cxn>
              <a:cxn ang="0">
                <a:pos x="T10" y="T11"/>
              </a:cxn>
              <a:cxn ang="0">
                <a:pos x="T12" y="T13"/>
              </a:cxn>
            </a:cxnLst>
            <a:rect l="0" t="0" r="r" b="b"/>
            <a:pathLst>
              <a:path w="1069" h="1069">
                <a:moveTo>
                  <a:pt x="404" y="440"/>
                </a:moveTo>
                <a:cubicBezTo>
                  <a:pt x="268" y="498"/>
                  <a:pt x="131" y="542"/>
                  <a:pt x="0" y="572"/>
                </a:cubicBezTo>
                <a:cubicBezTo>
                  <a:pt x="0" y="1069"/>
                  <a:pt x="0" y="1069"/>
                  <a:pt x="0" y="1069"/>
                </a:cubicBezTo>
                <a:cubicBezTo>
                  <a:pt x="125" y="963"/>
                  <a:pt x="269" y="862"/>
                  <a:pt x="428" y="772"/>
                </a:cubicBezTo>
                <a:cubicBezTo>
                  <a:pt x="645" y="650"/>
                  <a:pt x="864" y="562"/>
                  <a:pt x="1069" y="511"/>
                </a:cubicBezTo>
                <a:cubicBezTo>
                  <a:pt x="1069" y="0"/>
                  <a:pt x="1069" y="0"/>
                  <a:pt x="1069" y="0"/>
                </a:cubicBezTo>
                <a:cubicBezTo>
                  <a:pt x="909" y="165"/>
                  <a:pt x="679" y="322"/>
                  <a:pt x="404" y="440"/>
                </a:cubicBez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804" hangingPunct="0"/>
            <a:endParaRPr lang="en-US" sz="1866" kern="0" dirty="0">
              <a:solidFill>
                <a:srgbClr val="000000"/>
              </a:solidFill>
              <a:sym typeface="Arial"/>
            </a:endParaRPr>
          </a:p>
        </p:txBody>
      </p:sp>
      <p:sp>
        <p:nvSpPr>
          <p:cNvPr id="12" name="Freeform 7">
            <a:extLst>
              <a:ext uri="{FF2B5EF4-FFF2-40B4-BE49-F238E27FC236}">
                <a16:creationId xmlns:a16="http://schemas.microsoft.com/office/drawing/2014/main" id="{4D86E1BD-8102-194F-AC3B-A0B977FF1AA0}"/>
              </a:ext>
            </a:extLst>
          </p:cNvPr>
          <p:cNvSpPr>
            <a:spLocks/>
          </p:cNvSpPr>
          <p:nvPr userDrawn="1"/>
        </p:nvSpPr>
        <p:spPr bwMode="auto">
          <a:xfrm rot="16200000">
            <a:off x="2080601" y="1233075"/>
            <a:ext cx="6527650" cy="4061505"/>
          </a:xfrm>
          <a:custGeom>
            <a:avLst/>
            <a:gdLst>
              <a:gd name="T0" fmla="*/ 0 w 1069"/>
              <a:gd name="T1" fmla="*/ 558 h 665"/>
              <a:gd name="T2" fmla="*/ 0 w 1069"/>
              <a:gd name="T3" fmla="*/ 665 h 665"/>
              <a:gd name="T4" fmla="*/ 467 w 1069"/>
              <a:gd name="T5" fmla="*/ 261 h 665"/>
              <a:gd name="T6" fmla="*/ 1069 w 1069"/>
              <a:gd name="T7" fmla="*/ 63 h 665"/>
              <a:gd name="T8" fmla="*/ 1069 w 1069"/>
              <a:gd name="T9" fmla="*/ 0 h 665"/>
              <a:gd name="T10" fmla="*/ 428 w 1069"/>
              <a:gd name="T11" fmla="*/ 261 h 665"/>
              <a:gd name="T12" fmla="*/ 0 w 1069"/>
              <a:gd name="T13" fmla="*/ 558 h 665"/>
            </a:gdLst>
            <a:ahLst/>
            <a:cxnLst>
              <a:cxn ang="0">
                <a:pos x="T0" y="T1"/>
              </a:cxn>
              <a:cxn ang="0">
                <a:pos x="T2" y="T3"/>
              </a:cxn>
              <a:cxn ang="0">
                <a:pos x="T4" y="T5"/>
              </a:cxn>
              <a:cxn ang="0">
                <a:pos x="T6" y="T7"/>
              </a:cxn>
              <a:cxn ang="0">
                <a:pos x="T8" y="T9"/>
              </a:cxn>
              <a:cxn ang="0">
                <a:pos x="T10" y="T11"/>
              </a:cxn>
              <a:cxn ang="0">
                <a:pos x="T12" y="T13"/>
              </a:cxn>
            </a:cxnLst>
            <a:rect l="0" t="0" r="r" b="b"/>
            <a:pathLst>
              <a:path w="1069" h="665">
                <a:moveTo>
                  <a:pt x="0" y="558"/>
                </a:moveTo>
                <a:cubicBezTo>
                  <a:pt x="0" y="665"/>
                  <a:pt x="0" y="665"/>
                  <a:pt x="0" y="665"/>
                </a:cubicBezTo>
                <a:cubicBezTo>
                  <a:pt x="113" y="513"/>
                  <a:pt x="271" y="372"/>
                  <a:pt x="467" y="261"/>
                </a:cubicBezTo>
                <a:cubicBezTo>
                  <a:pt x="664" y="150"/>
                  <a:pt x="873" y="85"/>
                  <a:pt x="1069" y="63"/>
                </a:cubicBezTo>
                <a:cubicBezTo>
                  <a:pt x="1069" y="0"/>
                  <a:pt x="1069" y="0"/>
                  <a:pt x="1069" y="0"/>
                </a:cubicBezTo>
                <a:cubicBezTo>
                  <a:pt x="864" y="51"/>
                  <a:pt x="645" y="139"/>
                  <a:pt x="428" y="261"/>
                </a:cubicBezTo>
                <a:cubicBezTo>
                  <a:pt x="269" y="351"/>
                  <a:pt x="125" y="452"/>
                  <a:pt x="0" y="558"/>
                </a:cubicBezTo>
                <a:close/>
              </a:path>
            </a:pathLst>
          </a:custGeom>
          <a:solidFill>
            <a:srgbClr val="E99A0D"/>
          </a:solidFill>
          <a:ln>
            <a:noFill/>
          </a:ln>
        </p:spPr>
        <p:txBody>
          <a:bodyPr vert="horz" wrap="square" lIns="91440" tIns="45720" rIns="91440" bIns="45720" numCol="1" anchor="t" anchorCtr="0" compatLnSpc="1">
            <a:prstTxWarp prst="textNoShape">
              <a:avLst/>
            </a:prstTxWarp>
          </a:bodyPr>
          <a:lstStyle/>
          <a:p>
            <a:pPr defTabSz="1218804" hangingPunct="0"/>
            <a:endParaRPr lang="en-US" sz="1866" kern="0" dirty="0">
              <a:solidFill>
                <a:srgbClr val="000000"/>
              </a:solidFill>
              <a:sym typeface="Arial"/>
            </a:endParaRPr>
          </a:p>
        </p:txBody>
      </p:sp>
      <p:sp>
        <p:nvSpPr>
          <p:cNvPr id="13" name="Freeform 8">
            <a:extLst>
              <a:ext uri="{FF2B5EF4-FFF2-40B4-BE49-F238E27FC236}">
                <a16:creationId xmlns:a16="http://schemas.microsoft.com/office/drawing/2014/main" id="{18FC33E7-D326-604F-AB51-B6EECF084149}"/>
              </a:ext>
            </a:extLst>
          </p:cNvPr>
          <p:cNvSpPr>
            <a:spLocks/>
          </p:cNvSpPr>
          <p:nvPr userDrawn="1"/>
        </p:nvSpPr>
        <p:spPr bwMode="auto">
          <a:xfrm rot="16200000">
            <a:off x="-1420030" y="1420033"/>
            <a:ext cx="6527650" cy="3687587"/>
          </a:xfrm>
          <a:custGeom>
            <a:avLst/>
            <a:gdLst>
              <a:gd name="T0" fmla="*/ 998 w 1069"/>
              <a:gd name="T1" fmla="*/ 0 h 604"/>
              <a:gd name="T2" fmla="*/ 540 w 1069"/>
              <a:gd name="T3" fmla="*/ 392 h 604"/>
              <a:gd name="T4" fmla="*/ 0 w 1069"/>
              <a:gd name="T5" fmla="*/ 556 h 604"/>
              <a:gd name="T6" fmla="*/ 0 w 1069"/>
              <a:gd name="T7" fmla="*/ 604 h 604"/>
              <a:gd name="T8" fmla="*/ 404 w 1069"/>
              <a:gd name="T9" fmla="*/ 472 h 604"/>
              <a:gd name="T10" fmla="*/ 1069 w 1069"/>
              <a:gd name="T11" fmla="*/ 32 h 604"/>
              <a:gd name="T12" fmla="*/ 1069 w 1069"/>
              <a:gd name="T13" fmla="*/ 0 h 604"/>
              <a:gd name="T14" fmla="*/ 998 w 1069"/>
              <a:gd name="T15" fmla="*/ 0 h 6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9" h="604">
                <a:moveTo>
                  <a:pt x="998" y="0"/>
                </a:moveTo>
                <a:cubicBezTo>
                  <a:pt x="894" y="148"/>
                  <a:pt x="739" y="287"/>
                  <a:pt x="540" y="392"/>
                </a:cubicBezTo>
                <a:cubicBezTo>
                  <a:pt x="362" y="485"/>
                  <a:pt x="175" y="539"/>
                  <a:pt x="0" y="556"/>
                </a:cubicBezTo>
                <a:cubicBezTo>
                  <a:pt x="0" y="604"/>
                  <a:pt x="0" y="604"/>
                  <a:pt x="0" y="604"/>
                </a:cubicBezTo>
                <a:cubicBezTo>
                  <a:pt x="131" y="574"/>
                  <a:pt x="268" y="530"/>
                  <a:pt x="404" y="472"/>
                </a:cubicBezTo>
                <a:cubicBezTo>
                  <a:pt x="679" y="354"/>
                  <a:pt x="909" y="197"/>
                  <a:pt x="1069" y="32"/>
                </a:cubicBezTo>
                <a:cubicBezTo>
                  <a:pt x="1069" y="0"/>
                  <a:pt x="1069" y="0"/>
                  <a:pt x="1069" y="0"/>
                </a:cubicBezTo>
                <a:lnTo>
                  <a:pt x="998" y="0"/>
                </a:lnTo>
                <a:close/>
              </a:path>
            </a:pathLst>
          </a:custGeom>
          <a:solidFill>
            <a:srgbClr val="BA472E"/>
          </a:solidFill>
          <a:ln>
            <a:noFill/>
          </a:ln>
        </p:spPr>
        <p:txBody>
          <a:bodyPr vert="horz" wrap="square" lIns="91440" tIns="45720" rIns="91440" bIns="45720" numCol="1" anchor="t" anchorCtr="0" compatLnSpc="1">
            <a:prstTxWarp prst="textNoShape">
              <a:avLst/>
            </a:prstTxWarp>
          </a:bodyPr>
          <a:lstStyle/>
          <a:p>
            <a:pPr defTabSz="1218804" hangingPunct="0"/>
            <a:endParaRPr lang="en-US" sz="1866" kern="0" dirty="0">
              <a:solidFill>
                <a:srgbClr val="000000"/>
              </a:solidFill>
              <a:sym typeface="Arial"/>
            </a:endParaRPr>
          </a:p>
        </p:txBody>
      </p:sp>
      <p:sp>
        <p:nvSpPr>
          <p:cNvPr id="14" name="Freeform 9">
            <a:extLst>
              <a:ext uri="{FF2B5EF4-FFF2-40B4-BE49-F238E27FC236}">
                <a16:creationId xmlns:a16="http://schemas.microsoft.com/office/drawing/2014/main" id="{FAB52E6B-8104-E84B-8C5F-7052C3C26F79}"/>
              </a:ext>
            </a:extLst>
          </p:cNvPr>
          <p:cNvSpPr>
            <a:spLocks/>
          </p:cNvSpPr>
          <p:nvPr userDrawn="1"/>
        </p:nvSpPr>
        <p:spPr bwMode="auto">
          <a:xfrm rot="16200000">
            <a:off x="-1350461" y="1783577"/>
            <a:ext cx="6094536" cy="3393612"/>
          </a:xfrm>
          <a:custGeom>
            <a:avLst/>
            <a:gdLst>
              <a:gd name="T0" fmla="*/ 386 w 998"/>
              <a:gd name="T1" fmla="*/ 439 h 556"/>
              <a:gd name="T2" fmla="*/ 0 w 998"/>
              <a:gd name="T3" fmla="*/ 503 h 556"/>
              <a:gd name="T4" fmla="*/ 0 w 998"/>
              <a:gd name="T5" fmla="*/ 556 h 556"/>
              <a:gd name="T6" fmla="*/ 540 w 998"/>
              <a:gd name="T7" fmla="*/ 392 h 556"/>
              <a:gd name="T8" fmla="*/ 998 w 998"/>
              <a:gd name="T9" fmla="*/ 0 h 556"/>
              <a:gd name="T10" fmla="*/ 922 w 998"/>
              <a:gd name="T11" fmla="*/ 0 h 556"/>
              <a:gd name="T12" fmla="*/ 386 w 998"/>
              <a:gd name="T13" fmla="*/ 439 h 556"/>
            </a:gdLst>
            <a:ahLst/>
            <a:cxnLst>
              <a:cxn ang="0">
                <a:pos x="T0" y="T1"/>
              </a:cxn>
              <a:cxn ang="0">
                <a:pos x="T2" y="T3"/>
              </a:cxn>
              <a:cxn ang="0">
                <a:pos x="T4" y="T5"/>
              </a:cxn>
              <a:cxn ang="0">
                <a:pos x="T6" y="T7"/>
              </a:cxn>
              <a:cxn ang="0">
                <a:pos x="T8" y="T9"/>
              </a:cxn>
              <a:cxn ang="0">
                <a:pos x="T10" y="T11"/>
              </a:cxn>
              <a:cxn ang="0">
                <a:pos x="T12" y="T13"/>
              </a:cxn>
            </a:cxnLst>
            <a:rect l="0" t="0" r="r" b="b"/>
            <a:pathLst>
              <a:path w="998" h="556">
                <a:moveTo>
                  <a:pt x="386" y="439"/>
                </a:moveTo>
                <a:cubicBezTo>
                  <a:pt x="257" y="485"/>
                  <a:pt x="126" y="506"/>
                  <a:pt x="0" y="503"/>
                </a:cubicBezTo>
                <a:cubicBezTo>
                  <a:pt x="0" y="556"/>
                  <a:pt x="0" y="556"/>
                  <a:pt x="0" y="556"/>
                </a:cubicBezTo>
                <a:cubicBezTo>
                  <a:pt x="175" y="539"/>
                  <a:pt x="362" y="485"/>
                  <a:pt x="540" y="392"/>
                </a:cubicBezTo>
                <a:cubicBezTo>
                  <a:pt x="739" y="287"/>
                  <a:pt x="894" y="148"/>
                  <a:pt x="998" y="0"/>
                </a:cubicBezTo>
                <a:cubicBezTo>
                  <a:pt x="922" y="0"/>
                  <a:pt x="922" y="0"/>
                  <a:pt x="922" y="0"/>
                </a:cubicBezTo>
                <a:cubicBezTo>
                  <a:pt x="814" y="190"/>
                  <a:pt x="626" y="352"/>
                  <a:pt x="386" y="439"/>
                </a:cubicBezTo>
                <a:close/>
              </a:path>
            </a:pathLst>
          </a:custGeom>
          <a:solidFill>
            <a:srgbClr val="E99A0D"/>
          </a:solidFill>
          <a:ln>
            <a:noFill/>
          </a:ln>
        </p:spPr>
        <p:txBody>
          <a:bodyPr vert="horz" wrap="square" lIns="91440" tIns="45720" rIns="91440" bIns="45720" numCol="1" anchor="t" anchorCtr="0" compatLnSpc="1">
            <a:prstTxWarp prst="textNoShape">
              <a:avLst/>
            </a:prstTxWarp>
          </a:bodyPr>
          <a:lstStyle/>
          <a:p>
            <a:pPr defTabSz="1218804" hangingPunct="0"/>
            <a:endParaRPr lang="en-US" sz="1866" kern="0" dirty="0">
              <a:solidFill>
                <a:srgbClr val="000000"/>
              </a:solidFill>
              <a:sym typeface="Arial"/>
            </a:endParaRPr>
          </a:p>
        </p:txBody>
      </p:sp>
      <p:sp>
        <p:nvSpPr>
          <p:cNvPr id="16" name="Freeform 10">
            <a:extLst>
              <a:ext uri="{FF2B5EF4-FFF2-40B4-BE49-F238E27FC236}">
                <a16:creationId xmlns:a16="http://schemas.microsoft.com/office/drawing/2014/main" id="{BF50ADEE-945A-6948-AA89-8EDDA45557C6}"/>
              </a:ext>
            </a:extLst>
          </p:cNvPr>
          <p:cNvSpPr>
            <a:spLocks/>
          </p:cNvSpPr>
          <p:nvPr userDrawn="1"/>
        </p:nvSpPr>
        <p:spPr bwMode="auto">
          <a:xfrm rot="16200000">
            <a:off x="-1270580" y="2167748"/>
            <a:ext cx="5630485" cy="3089322"/>
          </a:xfrm>
          <a:custGeom>
            <a:avLst/>
            <a:gdLst>
              <a:gd name="T0" fmla="*/ 386 w 922"/>
              <a:gd name="T1" fmla="*/ 439 h 506"/>
              <a:gd name="T2" fmla="*/ 922 w 922"/>
              <a:gd name="T3" fmla="*/ 0 h 506"/>
              <a:gd name="T4" fmla="*/ 726 w 922"/>
              <a:gd name="T5" fmla="*/ 0 h 506"/>
              <a:gd name="T6" fmla="*/ 404 w 922"/>
              <a:gd name="T7" fmla="*/ 382 h 506"/>
              <a:gd name="T8" fmla="*/ 0 w 922"/>
              <a:gd name="T9" fmla="*/ 349 h 506"/>
              <a:gd name="T10" fmla="*/ 0 w 922"/>
              <a:gd name="T11" fmla="*/ 503 h 506"/>
              <a:gd name="T12" fmla="*/ 386 w 922"/>
              <a:gd name="T13" fmla="*/ 439 h 506"/>
            </a:gdLst>
            <a:ahLst/>
            <a:cxnLst>
              <a:cxn ang="0">
                <a:pos x="T0" y="T1"/>
              </a:cxn>
              <a:cxn ang="0">
                <a:pos x="T2" y="T3"/>
              </a:cxn>
              <a:cxn ang="0">
                <a:pos x="T4" y="T5"/>
              </a:cxn>
              <a:cxn ang="0">
                <a:pos x="T6" y="T7"/>
              </a:cxn>
              <a:cxn ang="0">
                <a:pos x="T8" y="T9"/>
              </a:cxn>
              <a:cxn ang="0">
                <a:pos x="T10" y="T11"/>
              </a:cxn>
              <a:cxn ang="0">
                <a:pos x="T12" y="T13"/>
              </a:cxn>
            </a:cxnLst>
            <a:rect l="0" t="0" r="r" b="b"/>
            <a:pathLst>
              <a:path w="922" h="506">
                <a:moveTo>
                  <a:pt x="386" y="439"/>
                </a:moveTo>
                <a:cubicBezTo>
                  <a:pt x="626" y="352"/>
                  <a:pt x="814" y="190"/>
                  <a:pt x="922" y="0"/>
                </a:cubicBezTo>
                <a:cubicBezTo>
                  <a:pt x="726" y="0"/>
                  <a:pt x="726" y="0"/>
                  <a:pt x="726" y="0"/>
                </a:cubicBezTo>
                <a:cubicBezTo>
                  <a:pt x="686" y="184"/>
                  <a:pt x="569" y="322"/>
                  <a:pt x="404" y="382"/>
                </a:cubicBezTo>
                <a:cubicBezTo>
                  <a:pt x="270" y="430"/>
                  <a:pt x="128" y="418"/>
                  <a:pt x="0" y="349"/>
                </a:cubicBezTo>
                <a:cubicBezTo>
                  <a:pt x="0" y="503"/>
                  <a:pt x="0" y="503"/>
                  <a:pt x="0" y="503"/>
                </a:cubicBezTo>
                <a:cubicBezTo>
                  <a:pt x="126" y="506"/>
                  <a:pt x="257" y="485"/>
                  <a:pt x="386" y="439"/>
                </a:cubicBez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804" hangingPunct="0"/>
            <a:endParaRPr lang="en-US" sz="1866" kern="0" dirty="0">
              <a:solidFill>
                <a:srgbClr val="000000"/>
              </a:solidFill>
              <a:sym typeface="Arial"/>
            </a:endParaRPr>
          </a:p>
        </p:txBody>
      </p:sp>
      <p:sp>
        <p:nvSpPr>
          <p:cNvPr id="17" name="Oval 16">
            <a:extLst>
              <a:ext uri="{FF2B5EF4-FFF2-40B4-BE49-F238E27FC236}">
                <a16:creationId xmlns:a16="http://schemas.microsoft.com/office/drawing/2014/main" id="{ECF6C475-11B2-6341-A226-B4601CDFA34B}"/>
              </a:ext>
            </a:extLst>
          </p:cNvPr>
          <p:cNvSpPr/>
          <p:nvPr userDrawn="1"/>
        </p:nvSpPr>
        <p:spPr>
          <a:xfrm>
            <a:off x="932712" y="1609948"/>
            <a:ext cx="1951509" cy="1988655"/>
          </a:xfrm>
          <a:prstGeom prst="ellipse">
            <a:avLst/>
          </a:prstGeom>
          <a:solidFill>
            <a:srgbClr val="FFFFFF"/>
          </a:solidFill>
          <a:ln w="25400" cap="flat">
            <a:noFill/>
            <a:prstDash val="solid"/>
            <a:round/>
          </a:ln>
          <a:effectLst>
            <a:innerShdw blurRad="63500" dist="50800" dir="13500000">
              <a:prstClr val="black">
                <a:alpha val="50000"/>
              </a:prstClr>
            </a:inn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hangingPunct="0"/>
            <a:endParaRPr lang="en-US" sz="1400" kern="0" dirty="0">
              <a:solidFill>
                <a:srgbClr val="000000"/>
              </a:solidFill>
              <a:sym typeface="Arial"/>
            </a:endParaRPr>
          </a:p>
        </p:txBody>
      </p:sp>
      <p:sp>
        <p:nvSpPr>
          <p:cNvPr id="18" name="Freeform 12">
            <a:extLst>
              <a:ext uri="{FF2B5EF4-FFF2-40B4-BE49-F238E27FC236}">
                <a16:creationId xmlns:a16="http://schemas.microsoft.com/office/drawing/2014/main" id="{821D2901-FC2A-FE4E-8E5A-041715BE48CD}"/>
              </a:ext>
            </a:extLst>
          </p:cNvPr>
          <p:cNvSpPr>
            <a:spLocks noEditPoints="1"/>
          </p:cNvSpPr>
          <p:nvPr userDrawn="1"/>
        </p:nvSpPr>
        <p:spPr bwMode="auto">
          <a:xfrm rot="16200000">
            <a:off x="816457" y="1496278"/>
            <a:ext cx="2199087" cy="2197080"/>
          </a:xfrm>
          <a:custGeom>
            <a:avLst/>
            <a:gdLst>
              <a:gd name="T0" fmla="*/ 180 w 360"/>
              <a:gd name="T1" fmla="*/ 360 h 360"/>
              <a:gd name="T2" fmla="*/ 0 w 360"/>
              <a:gd name="T3" fmla="*/ 180 h 360"/>
              <a:gd name="T4" fmla="*/ 180 w 360"/>
              <a:gd name="T5" fmla="*/ 0 h 360"/>
              <a:gd name="T6" fmla="*/ 360 w 360"/>
              <a:gd name="T7" fmla="*/ 180 h 360"/>
              <a:gd name="T8" fmla="*/ 180 w 360"/>
              <a:gd name="T9" fmla="*/ 360 h 360"/>
              <a:gd name="T10" fmla="*/ 180 w 360"/>
              <a:gd name="T11" fmla="*/ 24 h 360"/>
              <a:gd name="T12" fmla="*/ 25 w 360"/>
              <a:gd name="T13" fmla="*/ 180 h 360"/>
              <a:gd name="T14" fmla="*/ 180 w 360"/>
              <a:gd name="T15" fmla="*/ 335 h 360"/>
              <a:gd name="T16" fmla="*/ 336 w 360"/>
              <a:gd name="T17" fmla="*/ 180 h 360"/>
              <a:gd name="T18" fmla="*/ 180 w 360"/>
              <a:gd name="T19" fmla="*/ 24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 h="360">
                <a:moveTo>
                  <a:pt x="180" y="360"/>
                </a:moveTo>
                <a:cubicBezTo>
                  <a:pt x="81" y="360"/>
                  <a:pt x="0" y="279"/>
                  <a:pt x="0" y="180"/>
                </a:cubicBezTo>
                <a:cubicBezTo>
                  <a:pt x="0" y="81"/>
                  <a:pt x="81" y="0"/>
                  <a:pt x="180" y="0"/>
                </a:cubicBezTo>
                <a:cubicBezTo>
                  <a:pt x="280" y="0"/>
                  <a:pt x="360" y="81"/>
                  <a:pt x="360" y="180"/>
                </a:cubicBezTo>
                <a:cubicBezTo>
                  <a:pt x="360" y="279"/>
                  <a:pt x="280" y="360"/>
                  <a:pt x="180" y="360"/>
                </a:cubicBezTo>
                <a:close/>
                <a:moveTo>
                  <a:pt x="180" y="24"/>
                </a:moveTo>
                <a:cubicBezTo>
                  <a:pt x="94" y="24"/>
                  <a:pt x="25" y="94"/>
                  <a:pt x="25" y="180"/>
                </a:cubicBezTo>
                <a:cubicBezTo>
                  <a:pt x="25" y="266"/>
                  <a:pt x="94" y="335"/>
                  <a:pt x="180" y="335"/>
                </a:cubicBezTo>
                <a:cubicBezTo>
                  <a:pt x="266" y="335"/>
                  <a:pt x="336" y="266"/>
                  <a:pt x="336" y="180"/>
                </a:cubicBezTo>
                <a:cubicBezTo>
                  <a:pt x="336" y="94"/>
                  <a:pt x="266" y="24"/>
                  <a:pt x="180" y="24"/>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1218804" hangingPunct="0"/>
            <a:endParaRPr lang="en-US" sz="1866" kern="0" dirty="0">
              <a:solidFill>
                <a:srgbClr val="000000"/>
              </a:solidFill>
              <a:sym typeface="Arial"/>
            </a:endParaRPr>
          </a:p>
        </p:txBody>
      </p:sp>
      <p:sp>
        <p:nvSpPr>
          <p:cNvPr id="19" name="Oval 18">
            <a:extLst>
              <a:ext uri="{FF2B5EF4-FFF2-40B4-BE49-F238E27FC236}">
                <a16:creationId xmlns:a16="http://schemas.microsoft.com/office/drawing/2014/main" id="{406E8BBA-6621-D049-AC2A-98B302D9FDA6}"/>
              </a:ext>
            </a:extLst>
          </p:cNvPr>
          <p:cNvSpPr/>
          <p:nvPr userDrawn="1"/>
        </p:nvSpPr>
        <p:spPr>
          <a:xfrm>
            <a:off x="3118399" y="1132583"/>
            <a:ext cx="1953971" cy="1988655"/>
          </a:xfrm>
          <a:prstGeom prst="ellipse">
            <a:avLst/>
          </a:prstGeom>
          <a:solidFill>
            <a:srgbClr val="FFFFFF"/>
          </a:solidFill>
          <a:ln w="25400" cap="flat">
            <a:noFill/>
            <a:prstDash val="solid"/>
            <a:round/>
          </a:ln>
          <a:effectLst>
            <a:innerShdw blurRad="63500" dist="50800" dir="13500000">
              <a:prstClr val="black">
                <a:alpha val="50000"/>
              </a:prstClr>
            </a:inn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hangingPunct="0"/>
            <a:endParaRPr lang="en-US" sz="1400" kern="0" dirty="0">
              <a:solidFill>
                <a:srgbClr val="000000"/>
              </a:solidFill>
              <a:sym typeface="Arial"/>
            </a:endParaRPr>
          </a:p>
        </p:txBody>
      </p:sp>
      <p:sp>
        <p:nvSpPr>
          <p:cNvPr id="20" name="Freeform 13">
            <a:extLst>
              <a:ext uri="{FF2B5EF4-FFF2-40B4-BE49-F238E27FC236}">
                <a16:creationId xmlns:a16="http://schemas.microsoft.com/office/drawing/2014/main" id="{0DA6284F-3CB5-F44E-B3A7-271EF3EDA9A9}"/>
              </a:ext>
            </a:extLst>
          </p:cNvPr>
          <p:cNvSpPr>
            <a:spLocks noEditPoints="1"/>
          </p:cNvSpPr>
          <p:nvPr userDrawn="1"/>
        </p:nvSpPr>
        <p:spPr bwMode="auto">
          <a:xfrm rot="16200000">
            <a:off x="2995485" y="1045118"/>
            <a:ext cx="2199087" cy="2197080"/>
          </a:xfrm>
          <a:custGeom>
            <a:avLst/>
            <a:gdLst>
              <a:gd name="T0" fmla="*/ 180 w 360"/>
              <a:gd name="T1" fmla="*/ 360 h 360"/>
              <a:gd name="T2" fmla="*/ 0 w 360"/>
              <a:gd name="T3" fmla="*/ 180 h 360"/>
              <a:gd name="T4" fmla="*/ 180 w 360"/>
              <a:gd name="T5" fmla="*/ 0 h 360"/>
              <a:gd name="T6" fmla="*/ 360 w 360"/>
              <a:gd name="T7" fmla="*/ 180 h 360"/>
              <a:gd name="T8" fmla="*/ 180 w 360"/>
              <a:gd name="T9" fmla="*/ 360 h 360"/>
              <a:gd name="T10" fmla="*/ 180 w 360"/>
              <a:gd name="T11" fmla="*/ 24 h 360"/>
              <a:gd name="T12" fmla="*/ 25 w 360"/>
              <a:gd name="T13" fmla="*/ 180 h 360"/>
              <a:gd name="T14" fmla="*/ 180 w 360"/>
              <a:gd name="T15" fmla="*/ 335 h 360"/>
              <a:gd name="T16" fmla="*/ 336 w 360"/>
              <a:gd name="T17" fmla="*/ 180 h 360"/>
              <a:gd name="T18" fmla="*/ 180 w 360"/>
              <a:gd name="T19" fmla="*/ 24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 h="360">
                <a:moveTo>
                  <a:pt x="180" y="360"/>
                </a:moveTo>
                <a:cubicBezTo>
                  <a:pt x="81" y="360"/>
                  <a:pt x="0" y="279"/>
                  <a:pt x="0" y="180"/>
                </a:cubicBezTo>
                <a:cubicBezTo>
                  <a:pt x="0" y="81"/>
                  <a:pt x="81" y="0"/>
                  <a:pt x="180" y="0"/>
                </a:cubicBezTo>
                <a:cubicBezTo>
                  <a:pt x="280" y="0"/>
                  <a:pt x="360" y="81"/>
                  <a:pt x="360" y="180"/>
                </a:cubicBezTo>
                <a:cubicBezTo>
                  <a:pt x="360" y="279"/>
                  <a:pt x="280" y="360"/>
                  <a:pt x="180" y="360"/>
                </a:cubicBezTo>
                <a:close/>
                <a:moveTo>
                  <a:pt x="180" y="24"/>
                </a:moveTo>
                <a:cubicBezTo>
                  <a:pt x="95" y="24"/>
                  <a:pt x="25" y="94"/>
                  <a:pt x="25" y="180"/>
                </a:cubicBezTo>
                <a:cubicBezTo>
                  <a:pt x="25" y="266"/>
                  <a:pt x="95" y="335"/>
                  <a:pt x="180" y="335"/>
                </a:cubicBezTo>
                <a:cubicBezTo>
                  <a:pt x="266" y="335"/>
                  <a:pt x="336" y="266"/>
                  <a:pt x="336" y="180"/>
                </a:cubicBezTo>
                <a:cubicBezTo>
                  <a:pt x="336" y="94"/>
                  <a:pt x="266" y="24"/>
                  <a:pt x="180" y="24"/>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1218804" hangingPunct="0"/>
            <a:endParaRPr lang="en-US" sz="1866" kern="0" dirty="0">
              <a:solidFill>
                <a:srgbClr val="000000"/>
              </a:solidFill>
              <a:sym typeface="Arial"/>
            </a:endParaRPr>
          </a:p>
        </p:txBody>
      </p:sp>
      <p:sp>
        <p:nvSpPr>
          <p:cNvPr id="21" name="Oval 20">
            <a:extLst>
              <a:ext uri="{FF2B5EF4-FFF2-40B4-BE49-F238E27FC236}">
                <a16:creationId xmlns:a16="http://schemas.microsoft.com/office/drawing/2014/main" id="{58355997-D348-1E4F-8A02-35E0829F822E}"/>
              </a:ext>
            </a:extLst>
          </p:cNvPr>
          <p:cNvSpPr/>
          <p:nvPr userDrawn="1"/>
        </p:nvSpPr>
        <p:spPr>
          <a:xfrm>
            <a:off x="2316752" y="3015273"/>
            <a:ext cx="2766516" cy="2911590"/>
          </a:xfrm>
          <a:prstGeom prst="ellipse">
            <a:avLst/>
          </a:prstGeom>
          <a:solidFill>
            <a:srgbClr val="FFFFFF"/>
          </a:solidFill>
          <a:ln w="25400" cap="flat">
            <a:noFill/>
            <a:prstDash val="solid"/>
            <a:round/>
          </a:ln>
          <a:effectLst>
            <a:innerShdw blurRad="63500" dist="50800" dir="13500000">
              <a:prstClr val="black">
                <a:alpha val="50000"/>
              </a:prstClr>
            </a:inn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hangingPunct="0"/>
            <a:endParaRPr lang="en-US" sz="1400" kern="0" dirty="0">
              <a:solidFill>
                <a:srgbClr val="000000"/>
              </a:solidFill>
              <a:sym typeface="Arial"/>
            </a:endParaRPr>
          </a:p>
        </p:txBody>
      </p:sp>
      <p:sp>
        <p:nvSpPr>
          <p:cNvPr id="22" name="Freeform 11">
            <a:extLst>
              <a:ext uri="{FF2B5EF4-FFF2-40B4-BE49-F238E27FC236}">
                <a16:creationId xmlns:a16="http://schemas.microsoft.com/office/drawing/2014/main" id="{CD807AA0-537F-BB47-A5F5-02C90AC769E0}"/>
              </a:ext>
            </a:extLst>
          </p:cNvPr>
          <p:cNvSpPr>
            <a:spLocks noEditPoints="1"/>
          </p:cNvSpPr>
          <p:nvPr userDrawn="1"/>
        </p:nvSpPr>
        <p:spPr bwMode="auto">
          <a:xfrm rot="16200000">
            <a:off x="2179422" y="2894771"/>
            <a:ext cx="3003442" cy="3004224"/>
          </a:xfrm>
          <a:custGeom>
            <a:avLst/>
            <a:gdLst>
              <a:gd name="T0" fmla="*/ 246 w 492"/>
              <a:gd name="T1" fmla="*/ 492 h 492"/>
              <a:gd name="T2" fmla="*/ 0 w 492"/>
              <a:gd name="T3" fmla="*/ 246 h 492"/>
              <a:gd name="T4" fmla="*/ 246 w 492"/>
              <a:gd name="T5" fmla="*/ 0 h 492"/>
              <a:gd name="T6" fmla="*/ 492 w 492"/>
              <a:gd name="T7" fmla="*/ 246 h 492"/>
              <a:gd name="T8" fmla="*/ 246 w 492"/>
              <a:gd name="T9" fmla="*/ 492 h 492"/>
              <a:gd name="T10" fmla="*/ 246 w 492"/>
              <a:gd name="T11" fmla="*/ 34 h 492"/>
              <a:gd name="T12" fmla="*/ 33 w 492"/>
              <a:gd name="T13" fmla="*/ 246 h 492"/>
              <a:gd name="T14" fmla="*/ 246 w 492"/>
              <a:gd name="T15" fmla="*/ 459 h 492"/>
              <a:gd name="T16" fmla="*/ 458 w 492"/>
              <a:gd name="T17" fmla="*/ 246 h 492"/>
              <a:gd name="T18" fmla="*/ 246 w 492"/>
              <a:gd name="T19" fmla="*/ 34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2" h="492">
                <a:moveTo>
                  <a:pt x="246" y="492"/>
                </a:moveTo>
                <a:cubicBezTo>
                  <a:pt x="110" y="492"/>
                  <a:pt x="0" y="382"/>
                  <a:pt x="0" y="246"/>
                </a:cubicBezTo>
                <a:cubicBezTo>
                  <a:pt x="0" y="111"/>
                  <a:pt x="110" y="0"/>
                  <a:pt x="246" y="0"/>
                </a:cubicBezTo>
                <a:cubicBezTo>
                  <a:pt x="382" y="0"/>
                  <a:pt x="492" y="111"/>
                  <a:pt x="492" y="246"/>
                </a:cubicBezTo>
                <a:cubicBezTo>
                  <a:pt x="492" y="382"/>
                  <a:pt x="382" y="492"/>
                  <a:pt x="246" y="492"/>
                </a:cubicBezTo>
                <a:close/>
                <a:moveTo>
                  <a:pt x="246" y="34"/>
                </a:moveTo>
                <a:cubicBezTo>
                  <a:pt x="129" y="34"/>
                  <a:pt x="33" y="129"/>
                  <a:pt x="33" y="246"/>
                </a:cubicBezTo>
                <a:cubicBezTo>
                  <a:pt x="33" y="364"/>
                  <a:pt x="129" y="459"/>
                  <a:pt x="246" y="459"/>
                </a:cubicBezTo>
                <a:cubicBezTo>
                  <a:pt x="363" y="459"/>
                  <a:pt x="458" y="364"/>
                  <a:pt x="458" y="246"/>
                </a:cubicBezTo>
                <a:cubicBezTo>
                  <a:pt x="458" y="129"/>
                  <a:pt x="363" y="34"/>
                  <a:pt x="246" y="34"/>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1218804" hangingPunct="0"/>
            <a:endParaRPr lang="en-US" sz="1866" kern="0" dirty="0">
              <a:solidFill>
                <a:srgbClr val="000000"/>
              </a:solidFill>
              <a:sym typeface="Arial"/>
            </a:endParaRPr>
          </a:p>
        </p:txBody>
      </p:sp>
      <p:sp>
        <p:nvSpPr>
          <p:cNvPr id="23" name="Shape 954">
            <a:extLst>
              <a:ext uri="{FF2B5EF4-FFF2-40B4-BE49-F238E27FC236}">
                <a16:creationId xmlns:a16="http://schemas.microsoft.com/office/drawing/2014/main" id="{7A52AD3E-41B5-A245-8E73-D3BD1C9D0B5D}"/>
              </a:ext>
            </a:extLst>
          </p:cNvPr>
          <p:cNvSpPr/>
          <p:nvPr userDrawn="1"/>
        </p:nvSpPr>
        <p:spPr>
          <a:xfrm>
            <a:off x="7570453" y="2571943"/>
            <a:ext cx="2873958" cy="517064"/>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ctr">
            <a:spAutoFit/>
          </a:bodyPr>
          <a:lstStyle/>
          <a:p>
            <a:pPr algn="ctr" defTabSz="1218804" hangingPunct="0">
              <a:defRPr sz="2800">
                <a:solidFill>
                  <a:srgbClr val="4D4D4D"/>
                </a:solidFill>
                <a:latin typeface="Lato Light"/>
                <a:ea typeface="Lato Light"/>
                <a:cs typeface="Lato Light"/>
                <a:sym typeface="Lato Light"/>
              </a:defRPr>
            </a:pPr>
            <a:r>
              <a:rPr lang="en-US" sz="3360" b="1" kern="0" dirty="0">
                <a:solidFill>
                  <a:srgbClr val="4D4D4D"/>
                </a:solidFill>
                <a:latin typeface="Lato Heavy"/>
                <a:ea typeface="Lato Heavy"/>
                <a:cs typeface="Lato Heavy"/>
                <a:sym typeface="Lato Heavy"/>
              </a:rPr>
              <a:t>THANK YOU</a:t>
            </a:r>
            <a:endParaRPr sz="3360" b="1" kern="0" dirty="0">
              <a:solidFill>
                <a:srgbClr val="4D4D4D"/>
              </a:solidFill>
              <a:latin typeface="Lato Heavy"/>
              <a:ea typeface="Lato Heavy"/>
              <a:cs typeface="Lato Heavy"/>
              <a:sym typeface="Lato Heavy"/>
            </a:endParaRPr>
          </a:p>
        </p:txBody>
      </p:sp>
      <p:sp>
        <p:nvSpPr>
          <p:cNvPr id="24" name="Shape 1209">
            <a:extLst>
              <a:ext uri="{FF2B5EF4-FFF2-40B4-BE49-F238E27FC236}">
                <a16:creationId xmlns:a16="http://schemas.microsoft.com/office/drawing/2014/main" id="{C32EC3F3-CB38-FB40-9F4B-DEFED1017595}"/>
              </a:ext>
            </a:extLst>
          </p:cNvPr>
          <p:cNvSpPr/>
          <p:nvPr userDrawn="1"/>
        </p:nvSpPr>
        <p:spPr>
          <a:xfrm>
            <a:off x="2551928" y="3858197"/>
            <a:ext cx="2258430" cy="881426"/>
          </a:xfrm>
          <a:prstGeom prst="rect">
            <a:avLst/>
          </a:prstGeom>
          <a:ln w="12700">
            <a:noFill/>
            <a:miter lim="400000"/>
          </a:ln>
          <a:extLst>
            <a:ext uri="{C572A759-6A51-4108-AA02-DFA0A04FC94B}">
              <ma14:wrappingTextBoxFlag xmlns="" xmlns:ma14="http://schemas.microsoft.com/office/mac/drawingml/2011/main" val="1"/>
            </a:ext>
          </a:extLst>
        </p:spPr>
        <p:txBody>
          <a:bodyPr wrap="square" lIns="131651" tIns="131651" rIns="131651" bIns="131651" anchor="ctr">
            <a:spAutoFit/>
          </a:bodyPr>
          <a:lstStyle/>
          <a:p>
            <a:pPr algn="ctr" defTabSz="1218804" fontAlgn="t" hangingPunct="0"/>
            <a:r>
              <a:rPr lang="en-US" sz="2000" b="1" i="1" kern="0" dirty="0">
                <a:solidFill>
                  <a:srgbClr val="000000"/>
                </a:solidFill>
                <a:latin typeface="Lato" charset="0"/>
                <a:ea typeface="Lato" charset="0"/>
                <a:cs typeface="Lato" charset="0"/>
                <a:sym typeface="Arial"/>
              </a:rPr>
              <a:t>We like </a:t>
            </a:r>
            <a:br>
              <a:rPr lang="en-US" sz="2000" b="1" i="1" kern="0" dirty="0">
                <a:solidFill>
                  <a:srgbClr val="000000"/>
                </a:solidFill>
                <a:latin typeface="Lato" charset="0"/>
                <a:ea typeface="Lato" charset="0"/>
                <a:cs typeface="Lato" charset="0"/>
                <a:sym typeface="Arial"/>
              </a:rPr>
            </a:br>
            <a:r>
              <a:rPr lang="en-US" sz="2000" b="1" i="1" kern="0" dirty="0">
                <a:solidFill>
                  <a:srgbClr val="000000"/>
                </a:solidFill>
                <a:latin typeface="Lato" charset="0"/>
                <a:ea typeface="Lato" charset="0"/>
                <a:cs typeface="Lato" charset="0"/>
                <a:sym typeface="Arial"/>
              </a:rPr>
              <a:t>creating products</a:t>
            </a:r>
          </a:p>
        </p:txBody>
      </p:sp>
      <p:sp>
        <p:nvSpPr>
          <p:cNvPr id="25" name="Shape 1209">
            <a:extLst>
              <a:ext uri="{FF2B5EF4-FFF2-40B4-BE49-F238E27FC236}">
                <a16:creationId xmlns:a16="http://schemas.microsoft.com/office/drawing/2014/main" id="{5E2CA113-C437-4143-88F8-8B01F444BD14}"/>
              </a:ext>
            </a:extLst>
          </p:cNvPr>
          <p:cNvSpPr/>
          <p:nvPr userDrawn="1"/>
        </p:nvSpPr>
        <p:spPr>
          <a:xfrm>
            <a:off x="899327" y="2162106"/>
            <a:ext cx="2015296" cy="881426"/>
          </a:xfrm>
          <a:prstGeom prst="rect">
            <a:avLst/>
          </a:prstGeom>
          <a:ln w="12700">
            <a:miter lim="400000"/>
          </a:ln>
          <a:extLst>
            <a:ext uri="{C572A759-6A51-4108-AA02-DFA0A04FC94B}">
              <ma14:wrappingTextBoxFlag xmlns="" xmlns:ma14="http://schemas.microsoft.com/office/mac/drawingml/2011/main" val="1"/>
            </a:ext>
          </a:extLst>
        </p:spPr>
        <p:txBody>
          <a:bodyPr wrap="square" lIns="131651" tIns="131651" rIns="131651" bIns="131651" anchor="ctr">
            <a:spAutoFit/>
          </a:bodyPr>
          <a:lstStyle/>
          <a:p>
            <a:pPr algn="ctr" defTabSz="1218804" fontAlgn="t" hangingPunct="0"/>
            <a:r>
              <a:rPr lang="en-US" sz="2000" b="1" i="1" kern="0" dirty="0">
                <a:solidFill>
                  <a:srgbClr val="000000"/>
                </a:solidFill>
                <a:latin typeface="Lato" charset="0"/>
                <a:ea typeface="Lato" charset="0"/>
                <a:cs typeface="Lato" charset="0"/>
                <a:sym typeface="Arial"/>
              </a:rPr>
              <a:t>We love </a:t>
            </a:r>
          </a:p>
          <a:p>
            <a:pPr algn="ctr" defTabSz="1218804" fontAlgn="t" hangingPunct="0"/>
            <a:r>
              <a:rPr lang="en-US" sz="2000" b="1" i="1" kern="0" dirty="0">
                <a:solidFill>
                  <a:srgbClr val="000000"/>
                </a:solidFill>
                <a:latin typeface="Lato" charset="0"/>
                <a:ea typeface="Lato" charset="0"/>
                <a:cs typeface="Lato" charset="0"/>
                <a:sym typeface="Arial"/>
              </a:rPr>
              <a:t>to innovate</a:t>
            </a:r>
          </a:p>
        </p:txBody>
      </p:sp>
      <p:sp>
        <p:nvSpPr>
          <p:cNvPr id="26" name="Shape 1209">
            <a:extLst>
              <a:ext uri="{FF2B5EF4-FFF2-40B4-BE49-F238E27FC236}">
                <a16:creationId xmlns:a16="http://schemas.microsoft.com/office/drawing/2014/main" id="{2B429116-2145-C744-9757-1A493A1E1494}"/>
              </a:ext>
            </a:extLst>
          </p:cNvPr>
          <p:cNvSpPr/>
          <p:nvPr userDrawn="1"/>
        </p:nvSpPr>
        <p:spPr>
          <a:xfrm>
            <a:off x="3169601" y="1684688"/>
            <a:ext cx="1893648" cy="881426"/>
          </a:xfrm>
          <a:prstGeom prst="rect">
            <a:avLst/>
          </a:prstGeom>
          <a:ln w="12700">
            <a:miter lim="400000"/>
          </a:ln>
          <a:extLst>
            <a:ext uri="{C572A759-6A51-4108-AA02-DFA0A04FC94B}">
              <ma14:wrappingTextBoxFlag xmlns="" xmlns:ma14="http://schemas.microsoft.com/office/mac/drawingml/2011/main" val="1"/>
            </a:ext>
          </a:extLst>
        </p:spPr>
        <p:txBody>
          <a:bodyPr wrap="square" lIns="131651" tIns="131651" rIns="131651" bIns="131651" anchor="ctr">
            <a:spAutoFit/>
          </a:bodyPr>
          <a:lstStyle/>
          <a:p>
            <a:pPr algn="ctr" defTabSz="1218804" fontAlgn="t" hangingPunct="0"/>
            <a:r>
              <a:rPr lang="en-US" sz="2000" b="1" i="1" kern="0" dirty="0">
                <a:solidFill>
                  <a:srgbClr val="000000"/>
                </a:solidFill>
                <a:latin typeface="Lato" charset="0"/>
                <a:ea typeface="Lato" charset="0"/>
                <a:cs typeface="Lato" charset="0"/>
                <a:sym typeface="Arial"/>
              </a:rPr>
              <a:t>Happy when </a:t>
            </a:r>
          </a:p>
          <a:p>
            <a:pPr algn="ctr" defTabSz="1218804" fontAlgn="t" hangingPunct="0"/>
            <a:r>
              <a:rPr lang="en-US" sz="2000" b="1" i="1" kern="0" dirty="0">
                <a:solidFill>
                  <a:srgbClr val="000000"/>
                </a:solidFill>
                <a:latin typeface="Lato" charset="0"/>
                <a:ea typeface="Lato" charset="0"/>
                <a:cs typeface="Lato" charset="0"/>
                <a:sym typeface="Arial"/>
              </a:rPr>
              <a:t>we all succeed</a:t>
            </a:r>
          </a:p>
        </p:txBody>
      </p:sp>
      <p:cxnSp>
        <p:nvCxnSpPr>
          <p:cNvPr id="27" name="Straight Connector 26">
            <a:extLst>
              <a:ext uri="{FF2B5EF4-FFF2-40B4-BE49-F238E27FC236}">
                <a16:creationId xmlns:a16="http://schemas.microsoft.com/office/drawing/2014/main" id="{87B44C59-FE38-C846-A167-12A5A9A2756A}"/>
              </a:ext>
            </a:extLst>
          </p:cNvPr>
          <p:cNvCxnSpPr/>
          <p:nvPr userDrawn="1"/>
        </p:nvCxnSpPr>
        <p:spPr>
          <a:xfrm>
            <a:off x="7664158" y="3172160"/>
            <a:ext cx="2686548" cy="0"/>
          </a:xfrm>
          <a:prstGeom prst="line">
            <a:avLst/>
          </a:prstGeom>
          <a:noFill/>
          <a:ln w="25400" cap="flat">
            <a:solidFill>
              <a:srgbClr val="BA472E"/>
            </a:solidFill>
            <a:prstDash val="solid"/>
            <a:round/>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2107082273"/>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5" name="Shape 144"/>
          <p:cNvSpPr/>
          <p:nvPr userDrawn="1"/>
        </p:nvSpPr>
        <p:spPr>
          <a:xfrm>
            <a:off x="714" y="6551381"/>
            <a:ext cx="12191286" cy="296425"/>
          </a:xfrm>
          <a:prstGeom prst="rect">
            <a:avLst/>
          </a:prstGeom>
          <a:solidFill>
            <a:srgbClr val="3D4045"/>
          </a:solidFill>
          <a:ln w="12700">
            <a:miter lim="400000"/>
          </a:ln>
        </p:spPr>
        <p:txBody>
          <a:bodyPr lIns="45712" rIns="45712" anchor="ctr"/>
          <a:lstStyle/>
          <a:p>
            <a:pPr marL="0" marR="0" indent="0" algn="ctr" defTabSz="914347" rtl="0" eaLnBrk="1" fontAlgn="auto" latinLnBrk="0" hangingPunct="0">
              <a:lnSpc>
                <a:spcPct val="100000"/>
              </a:lnSpc>
              <a:spcBef>
                <a:spcPts val="0"/>
              </a:spcBef>
              <a:spcAft>
                <a:spcPts val="0"/>
              </a:spcAft>
              <a:buClrTx/>
              <a:buSzTx/>
              <a:buFontTx/>
              <a:buNone/>
              <a:tabLst/>
              <a:defRPr>
                <a:solidFill>
                  <a:srgbClr val="FFFFFF"/>
                </a:solidFill>
              </a:defRPr>
            </a:pPr>
            <a:r>
              <a:rPr lang="en-US" sz="1200" b="0" i="0" dirty="0">
                <a:solidFill>
                  <a:schemeClr val="bg1">
                    <a:lumMod val="85000"/>
                  </a:schemeClr>
                </a:solidFill>
                <a:latin typeface="Lato Light" charset="0"/>
                <a:ea typeface="Lato Light" charset="0"/>
                <a:cs typeface="Lato Light" charset="0"/>
              </a:rPr>
              <a:t>© 2018 Innominds — All rights reserved — Confidential</a:t>
            </a:r>
          </a:p>
        </p:txBody>
      </p:sp>
      <p:pic>
        <p:nvPicPr>
          <p:cNvPr id="6" name="image10.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2035" y="6493678"/>
            <a:ext cx="801422" cy="396806"/>
          </a:xfrm>
          <a:prstGeom prst="rect">
            <a:avLst/>
          </a:prstGeom>
          <a:ln w="12700">
            <a:miter lim="400000"/>
          </a:ln>
        </p:spPr>
      </p:pic>
      <p:sp>
        <p:nvSpPr>
          <p:cNvPr id="7" name="Shape 145"/>
          <p:cNvSpPr/>
          <p:nvPr userDrawn="1"/>
        </p:nvSpPr>
        <p:spPr>
          <a:xfrm>
            <a:off x="11723426" y="6578677"/>
            <a:ext cx="413982" cy="248138"/>
          </a:xfrm>
          <a:prstGeom prst="rect">
            <a:avLst/>
          </a:prstGeom>
          <a:solidFill>
            <a:srgbClr val="E94924"/>
          </a:solidFill>
          <a:ln w="12700" cap="flat">
            <a:noFill/>
            <a:miter lim="400000"/>
          </a:ln>
          <a:effectLst/>
        </p:spPr>
        <p:txBody>
          <a:bodyPr wrap="square" lIns="45712" tIns="45712" rIns="45712" bIns="45712" numCol="1" anchor="ctr">
            <a:noAutofit/>
          </a:bodyPr>
          <a:lstStyle/>
          <a:p>
            <a:pPr algn="ctr">
              <a:defRPr>
                <a:solidFill>
                  <a:srgbClr val="FFFFFF"/>
                </a:solidFill>
              </a:defRPr>
            </a:pPr>
            <a:fld id="{41B5EDD4-2ADD-0542-B90E-FC6D1AD5AE98}" type="slidenum">
              <a:rPr lang="uk-UA" sz="900" b="1" i="0" smtClean="0">
                <a:latin typeface="Lato Black" charset="0"/>
                <a:ea typeface="Lato Black" charset="0"/>
                <a:cs typeface="Lato Black" charset="0"/>
              </a:rPr>
              <a:t>‹#›</a:t>
            </a:fld>
            <a:endParaRPr sz="900" b="1" i="0" dirty="0">
              <a:latin typeface="Lato Black" charset="0"/>
              <a:ea typeface="Lato Black" charset="0"/>
              <a:cs typeface="Lato Black" charset="0"/>
            </a:endParaRPr>
          </a:p>
        </p:txBody>
      </p:sp>
    </p:spTree>
    <p:extLst>
      <p:ext uri="{BB962C8B-B14F-4D97-AF65-F5344CB8AC3E}">
        <p14:creationId xmlns:p14="http://schemas.microsoft.com/office/powerpoint/2010/main" val="26780401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CAF28DFE-932F-4E45-AB59-BA34946668DF}" type="datetimeFigureOut">
              <a:rPr lang="en-US" smtClean="0"/>
              <a:t>11/1/2018</a:t>
            </a:fld>
            <a:endParaRPr lang="en-US" dirty="0"/>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689C3822-4089-7E49-AFC8-77B55D61E962}" type="slidenum">
              <a:rPr lang="en-US" smtClean="0"/>
              <a:t>‹#›</a:t>
            </a:fld>
            <a:endParaRPr lang="en-US" dirty="0"/>
          </a:p>
        </p:txBody>
      </p:sp>
    </p:spTree>
    <p:extLst>
      <p:ext uri="{BB962C8B-B14F-4D97-AF65-F5344CB8AC3E}">
        <p14:creationId xmlns:p14="http://schemas.microsoft.com/office/powerpoint/2010/main" val="25827746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5_Title with footer">
    <p:spTree>
      <p:nvGrpSpPr>
        <p:cNvPr id="1" name=""/>
        <p:cNvGrpSpPr/>
        <p:nvPr/>
      </p:nvGrpSpPr>
      <p:grpSpPr>
        <a:xfrm>
          <a:off x="0" y="0"/>
          <a:ext cx="0" cy="0"/>
          <a:chOff x="0" y="0"/>
          <a:chExt cx="0" cy="0"/>
        </a:xfrm>
      </p:grpSpPr>
      <p:sp>
        <p:nvSpPr>
          <p:cNvPr id="6" name="Freeform 5"/>
          <p:cNvSpPr/>
          <p:nvPr userDrawn="1"/>
        </p:nvSpPr>
        <p:spPr>
          <a:xfrm>
            <a:off x="1" y="1"/>
            <a:ext cx="11423267" cy="773723"/>
          </a:xfrm>
          <a:custGeom>
            <a:avLst/>
            <a:gdLst>
              <a:gd name="connsiteX0" fmla="*/ 0 w 11420292"/>
              <a:gd name="connsiteY0" fmla="*/ 0 h 773723"/>
              <a:gd name="connsiteX1" fmla="*/ 10933740 w 11420292"/>
              <a:gd name="connsiteY1" fmla="*/ 0 h 773723"/>
              <a:gd name="connsiteX2" fmla="*/ 11420292 w 11420292"/>
              <a:gd name="connsiteY2" fmla="*/ 773723 h 773723"/>
              <a:gd name="connsiteX3" fmla="*/ 0 w 11420292"/>
              <a:gd name="connsiteY3" fmla="*/ 773723 h 773723"/>
            </a:gdLst>
            <a:ahLst/>
            <a:cxnLst>
              <a:cxn ang="0">
                <a:pos x="connsiteX0" y="connsiteY0"/>
              </a:cxn>
              <a:cxn ang="0">
                <a:pos x="connsiteX1" y="connsiteY1"/>
              </a:cxn>
              <a:cxn ang="0">
                <a:pos x="connsiteX2" y="connsiteY2"/>
              </a:cxn>
              <a:cxn ang="0">
                <a:pos x="connsiteX3" y="connsiteY3"/>
              </a:cxn>
            </a:cxnLst>
            <a:rect l="l" t="t" r="r" b="b"/>
            <a:pathLst>
              <a:path w="11420292" h="773723">
                <a:moveTo>
                  <a:pt x="0" y="0"/>
                </a:moveTo>
                <a:lnTo>
                  <a:pt x="10933740" y="0"/>
                </a:lnTo>
                <a:lnTo>
                  <a:pt x="11420292" y="773723"/>
                </a:lnTo>
                <a:lnTo>
                  <a:pt x="0" y="773723"/>
                </a:lnTo>
                <a:close/>
              </a:path>
            </a:pathLst>
          </a:custGeom>
          <a:solidFill>
            <a:srgbClr val="E76B17"/>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fromWordArt="0" anchor="ctr" anchorCtr="0" forceAA="0" compatLnSpc="1">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400" b="0" i="0" u="none" strike="noStrike" cap="none" spc="0" normalizeH="0" baseline="0" dirty="0">
              <a:ln>
                <a:noFill/>
              </a:ln>
              <a:solidFill>
                <a:srgbClr val="000000"/>
              </a:solidFill>
              <a:effectLst/>
              <a:uFillTx/>
              <a:latin typeface="+mn-lt"/>
              <a:ea typeface="+mn-ea"/>
              <a:cs typeface="+mn-cs"/>
              <a:sym typeface="Arial"/>
            </a:endParaRPr>
          </a:p>
        </p:txBody>
      </p:sp>
      <p:sp>
        <p:nvSpPr>
          <p:cNvPr id="7" name="Freeform 6"/>
          <p:cNvSpPr/>
          <p:nvPr userDrawn="1"/>
        </p:nvSpPr>
        <p:spPr>
          <a:xfrm flipH="1" flipV="1">
            <a:off x="11118618" y="1"/>
            <a:ext cx="1073382" cy="773723"/>
          </a:xfrm>
          <a:custGeom>
            <a:avLst/>
            <a:gdLst>
              <a:gd name="connsiteX0" fmla="*/ 1073102 w 1073102"/>
              <a:gd name="connsiteY0" fmla="*/ 773723 h 773723"/>
              <a:gd name="connsiteX1" fmla="*/ 0 w 1073102"/>
              <a:gd name="connsiteY1" fmla="*/ 773723 h 773723"/>
              <a:gd name="connsiteX2" fmla="*/ 0 w 1073102"/>
              <a:gd name="connsiteY2" fmla="*/ 0 h 773723"/>
              <a:gd name="connsiteX3" fmla="*/ 586550 w 1073102"/>
              <a:gd name="connsiteY3" fmla="*/ 0 h 773723"/>
            </a:gdLst>
            <a:ahLst/>
            <a:cxnLst>
              <a:cxn ang="0">
                <a:pos x="connsiteX0" y="connsiteY0"/>
              </a:cxn>
              <a:cxn ang="0">
                <a:pos x="connsiteX1" y="connsiteY1"/>
              </a:cxn>
              <a:cxn ang="0">
                <a:pos x="connsiteX2" y="connsiteY2"/>
              </a:cxn>
              <a:cxn ang="0">
                <a:pos x="connsiteX3" y="connsiteY3"/>
              </a:cxn>
            </a:cxnLst>
            <a:rect l="l" t="t" r="r" b="b"/>
            <a:pathLst>
              <a:path w="1073102" h="773723">
                <a:moveTo>
                  <a:pt x="1073102" y="773723"/>
                </a:moveTo>
                <a:lnTo>
                  <a:pt x="0" y="773723"/>
                </a:lnTo>
                <a:lnTo>
                  <a:pt x="0" y="0"/>
                </a:lnTo>
                <a:lnTo>
                  <a:pt x="586550" y="0"/>
                </a:lnTo>
                <a:close/>
              </a:path>
            </a:pathLst>
          </a:custGeom>
          <a:solidFill>
            <a:srgbClr val="FFC00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fromWordArt="0" anchor="ctr" anchorCtr="0" forceAA="0" compatLnSpc="1">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400" b="0" i="0" u="none" strike="noStrike" cap="none" spc="0" normalizeH="0" baseline="0" dirty="0">
              <a:ln>
                <a:noFill/>
              </a:ln>
              <a:solidFill>
                <a:srgbClr val="000000"/>
              </a:solidFill>
              <a:effectLst/>
              <a:uFillTx/>
              <a:latin typeface="+mn-lt"/>
              <a:ea typeface="+mn-ea"/>
              <a:cs typeface="+mn-cs"/>
              <a:sym typeface="Arial"/>
            </a:endParaRPr>
          </a:p>
        </p:txBody>
      </p:sp>
      <p:sp>
        <p:nvSpPr>
          <p:cNvPr id="10" name="Shape 144"/>
          <p:cNvSpPr/>
          <p:nvPr userDrawn="1"/>
        </p:nvSpPr>
        <p:spPr>
          <a:xfrm>
            <a:off x="954" y="6537960"/>
            <a:ext cx="12190096" cy="320040"/>
          </a:xfrm>
          <a:prstGeom prst="rect">
            <a:avLst/>
          </a:prstGeom>
          <a:solidFill>
            <a:srgbClr val="3D4045"/>
          </a:solidFill>
          <a:ln w="12700">
            <a:miter lim="400000"/>
          </a:ln>
        </p:spPr>
        <p:txBody>
          <a:bodyPr lIns="54863" rIns="54863" anchor="ctr"/>
          <a:lstStyle/>
          <a:p>
            <a:pPr marL="0" marR="0" indent="0" algn="ctr" defTabSz="1097435" rtl="0" eaLnBrk="1" fontAlgn="auto" latinLnBrk="0" hangingPunct="0">
              <a:lnSpc>
                <a:spcPct val="100000"/>
              </a:lnSpc>
              <a:spcBef>
                <a:spcPts val="0"/>
              </a:spcBef>
              <a:spcAft>
                <a:spcPts val="0"/>
              </a:spcAft>
              <a:buClrTx/>
              <a:buSzTx/>
              <a:buFontTx/>
              <a:buNone/>
              <a:tabLst/>
              <a:defRPr>
                <a:solidFill>
                  <a:srgbClr val="FFFFFF"/>
                </a:solidFill>
              </a:defRPr>
            </a:pPr>
            <a:r>
              <a:rPr lang="en-US" sz="1080" b="0" i="0" dirty="0">
                <a:solidFill>
                  <a:schemeClr val="bg1">
                    <a:lumMod val="85000"/>
                  </a:schemeClr>
                </a:solidFill>
                <a:latin typeface="Lato Light" charset="0"/>
                <a:ea typeface="Lato Light" charset="0"/>
                <a:cs typeface="Lato Light" charset="0"/>
              </a:rPr>
              <a:t>© 2018 Innominds — All rights reserved — Confidential</a:t>
            </a:r>
          </a:p>
        </p:txBody>
      </p:sp>
      <p:sp>
        <p:nvSpPr>
          <p:cNvPr id="2" name="Title 1"/>
          <p:cNvSpPr>
            <a:spLocks noGrp="1"/>
          </p:cNvSpPr>
          <p:nvPr>
            <p:ph type="title"/>
          </p:nvPr>
        </p:nvSpPr>
        <p:spPr>
          <a:xfrm>
            <a:off x="272018" y="67506"/>
            <a:ext cx="11919982" cy="638710"/>
          </a:xfrm>
        </p:spPr>
        <p:txBody>
          <a:bodyPr>
            <a:normAutofit/>
          </a:bodyPr>
          <a:lstStyle>
            <a:lvl1pPr>
              <a:defRPr sz="2800">
                <a:solidFill>
                  <a:schemeClr val="bg1"/>
                </a:solidFill>
                <a:latin typeface="Lato" charset="0"/>
                <a:ea typeface="Lato" charset="0"/>
                <a:cs typeface="Lato" charset="0"/>
              </a:defRPr>
            </a:lvl1pPr>
          </a:lstStyle>
          <a:p>
            <a:r>
              <a:rPr lang="en-US" dirty="0"/>
              <a:t>Click to edit Master title style</a:t>
            </a:r>
          </a:p>
        </p:txBody>
      </p:sp>
      <p:pic>
        <p:nvPicPr>
          <p:cNvPr id="5" name="image10.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6049" y="6502293"/>
            <a:ext cx="878296" cy="391381"/>
          </a:xfrm>
          <a:prstGeom prst="rect">
            <a:avLst/>
          </a:prstGeom>
          <a:ln w="12700">
            <a:miter lim="400000"/>
          </a:ln>
        </p:spPr>
      </p:pic>
      <p:sp>
        <p:nvSpPr>
          <p:cNvPr id="15" name="Shape 145"/>
          <p:cNvSpPr/>
          <p:nvPr userDrawn="1"/>
        </p:nvSpPr>
        <p:spPr>
          <a:xfrm>
            <a:off x="11753902" y="6595065"/>
            <a:ext cx="320123" cy="205826"/>
          </a:xfrm>
          <a:prstGeom prst="rect">
            <a:avLst/>
          </a:prstGeom>
          <a:solidFill>
            <a:srgbClr val="E94924"/>
          </a:solidFill>
          <a:ln w="12700" cap="flat">
            <a:noFill/>
            <a:miter lim="400000"/>
          </a:ln>
          <a:effectLst/>
        </p:spPr>
        <p:txBody>
          <a:bodyPr wrap="square" lIns="54863" tIns="54863" rIns="54863" bIns="54863" numCol="1" anchor="ctr">
            <a:noAutofit/>
          </a:bodyPr>
          <a:lstStyle/>
          <a:p>
            <a:pPr algn="ctr">
              <a:defRPr>
                <a:solidFill>
                  <a:srgbClr val="FFFFFF"/>
                </a:solidFill>
              </a:defRPr>
            </a:pPr>
            <a:fld id="{41B5EDD4-2ADD-0542-B90E-FC6D1AD5AE98}" type="slidenum">
              <a:rPr lang="uk-UA" sz="900" b="1" i="0" smtClean="0">
                <a:latin typeface="Lato Black" charset="0"/>
                <a:ea typeface="Lato Black" charset="0"/>
                <a:cs typeface="Lato Black" charset="0"/>
              </a:rPr>
              <a:t>‹#›</a:t>
            </a:fld>
            <a:endParaRPr sz="900" b="1" i="0" dirty="0">
              <a:latin typeface="Lato Black" charset="0"/>
              <a:ea typeface="Lato Black" charset="0"/>
              <a:cs typeface="Lato Black" charset="0"/>
            </a:endParaRPr>
          </a:p>
        </p:txBody>
      </p:sp>
      <p:cxnSp>
        <p:nvCxnSpPr>
          <p:cNvPr id="4" name="Straight Connector 3"/>
          <p:cNvCxnSpPr/>
          <p:nvPr userDrawn="1"/>
        </p:nvCxnSpPr>
        <p:spPr>
          <a:xfrm>
            <a:off x="1" y="751421"/>
            <a:ext cx="12191999" cy="0"/>
          </a:xfrm>
          <a:prstGeom prst="line">
            <a:avLst/>
          </a:prstGeom>
          <a:noFill/>
          <a:ln w="3175" cap="flat">
            <a:solidFill>
              <a:schemeClr val="bg1"/>
            </a:solidFill>
            <a:prstDash val="solid"/>
            <a:round/>
          </a:ln>
          <a:effectLst/>
          <a:sp3d/>
        </p:spPr>
        <p:style>
          <a:lnRef idx="0">
            <a:scrgbClr r="0" g="0" b="0"/>
          </a:lnRef>
          <a:fillRef idx="0">
            <a:scrgbClr r="0" g="0" b="0"/>
          </a:fillRef>
          <a:effectRef idx="0">
            <a:scrgbClr r="0" g="0" b="0"/>
          </a:effectRef>
          <a:fontRef idx="none"/>
        </p:style>
      </p:cxnSp>
      <p:sp>
        <p:nvSpPr>
          <p:cNvPr id="11" name="Rectangle 10"/>
          <p:cNvSpPr/>
          <p:nvPr userDrawn="1"/>
        </p:nvSpPr>
        <p:spPr>
          <a:xfrm>
            <a:off x="0" y="3497776"/>
            <a:ext cx="12192001" cy="307775"/>
          </a:xfrm>
          <a:prstGeom prst="rect">
            <a:avLst/>
          </a:prstGeom>
          <a:solidFill>
            <a:srgbClr val="FFFFFF">
              <a:alpha val="40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400" b="0" i="0" u="none" strike="noStrike" cap="none" spc="0" normalizeH="0" baseline="0" dirty="0">
              <a:ln>
                <a:noFill/>
              </a:ln>
              <a:solidFill>
                <a:srgbClr val="000000"/>
              </a:solidFill>
              <a:effectLst/>
              <a:uFillTx/>
              <a:latin typeface="+mn-lt"/>
              <a:ea typeface="+mn-ea"/>
              <a:cs typeface="+mn-cs"/>
              <a:sym typeface="Arial"/>
            </a:endParaRPr>
          </a:p>
        </p:txBody>
      </p:sp>
    </p:spTree>
    <p:extLst>
      <p:ext uri="{BB962C8B-B14F-4D97-AF65-F5344CB8AC3E}">
        <p14:creationId xmlns:p14="http://schemas.microsoft.com/office/powerpoint/2010/main" val="2978092368"/>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6_Title with footer">
    <p:spTree>
      <p:nvGrpSpPr>
        <p:cNvPr id="1" name=""/>
        <p:cNvGrpSpPr/>
        <p:nvPr/>
      </p:nvGrpSpPr>
      <p:grpSpPr>
        <a:xfrm>
          <a:off x="0" y="0"/>
          <a:ext cx="0" cy="0"/>
          <a:chOff x="0" y="0"/>
          <a:chExt cx="0" cy="0"/>
        </a:xfrm>
      </p:grpSpPr>
      <p:sp>
        <p:nvSpPr>
          <p:cNvPr id="10" name="Shape 144"/>
          <p:cNvSpPr/>
          <p:nvPr userDrawn="1"/>
        </p:nvSpPr>
        <p:spPr>
          <a:xfrm>
            <a:off x="954" y="6537960"/>
            <a:ext cx="12190096" cy="320040"/>
          </a:xfrm>
          <a:prstGeom prst="rect">
            <a:avLst/>
          </a:prstGeom>
          <a:solidFill>
            <a:srgbClr val="3D4045"/>
          </a:solidFill>
          <a:ln w="12700">
            <a:miter lim="400000"/>
          </a:ln>
        </p:spPr>
        <p:txBody>
          <a:bodyPr lIns="54863" rIns="54863" anchor="ctr"/>
          <a:lstStyle/>
          <a:p>
            <a:pPr marL="0" marR="0" indent="0" algn="ctr" defTabSz="1097435" rtl="0" eaLnBrk="1" fontAlgn="auto" latinLnBrk="0" hangingPunct="0">
              <a:lnSpc>
                <a:spcPct val="100000"/>
              </a:lnSpc>
              <a:spcBef>
                <a:spcPts val="0"/>
              </a:spcBef>
              <a:spcAft>
                <a:spcPts val="0"/>
              </a:spcAft>
              <a:buClrTx/>
              <a:buSzTx/>
              <a:buFontTx/>
              <a:buNone/>
              <a:tabLst/>
              <a:defRPr>
                <a:solidFill>
                  <a:srgbClr val="FFFFFF"/>
                </a:solidFill>
              </a:defRPr>
            </a:pPr>
            <a:r>
              <a:rPr lang="en-US" sz="1080" b="0" i="0" dirty="0">
                <a:solidFill>
                  <a:schemeClr val="bg1">
                    <a:lumMod val="85000"/>
                  </a:schemeClr>
                </a:solidFill>
                <a:latin typeface="Lato Light" charset="0"/>
                <a:ea typeface="Lato Light" charset="0"/>
                <a:cs typeface="Lato Light" charset="0"/>
              </a:rPr>
              <a:t>© 2018 Innominds — All rights reserved — Confidential</a:t>
            </a:r>
          </a:p>
        </p:txBody>
      </p:sp>
      <p:pic>
        <p:nvPicPr>
          <p:cNvPr id="5" name="image10.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049" y="6502293"/>
            <a:ext cx="878296" cy="391381"/>
          </a:xfrm>
          <a:prstGeom prst="rect">
            <a:avLst/>
          </a:prstGeom>
          <a:ln w="12700">
            <a:miter lim="400000"/>
          </a:ln>
        </p:spPr>
      </p:pic>
      <p:sp>
        <p:nvSpPr>
          <p:cNvPr id="15" name="Shape 145"/>
          <p:cNvSpPr/>
          <p:nvPr userDrawn="1"/>
        </p:nvSpPr>
        <p:spPr>
          <a:xfrm>
            <a:off x="11753902" y="6595065"/>
            <a:ext cx="320123" cy="205826"/>
          </a:xfrm>
          <a:prstGeom prst="rect">
            <a:avLst/>
          </a:prstGeom>
          <a:solidFill>
            <a:srgbClr val="E94924"/>
          </a:solidFill>
          <a:ln w="12700" cap="flat">
            <a:noFill/>
            <a:miter lim="400000"/>
          </a:ln>
          <a:effectLst/>
        </p:spPr>
        <p:txBody>
          <a:bodyPr wrap="square" lIns="54863" tIns="54863" rIns="54863" bIns="54863" numCol="1" anchor="ctr">
            <a:noAutofit/>
          </a:bodyPr>
          <a:lstStyle/>
          <a:p>
            <a:pPr algn="ctr">
              <a:defRPr>
                <a:solidFill>
                  <a:srgbClr val="FFFFFF"/>
                </a:solidFill>
              </a:defRPr>
            </a:pPr>
            <a:fld id="{41B5EDD4-2ADD-0542-B90E-FC6D1AD5AE98}" type="slidenum">
              <a:rPr lang="uk-UA" sz="900" b="1" i="0" smtClean="0">
                <a:latin typeface="Lato Black" charset="0"/>
                <a:ea typeface="Lato Black" charset="0"/>
                <a:cs typeface="Lato Black" charset="0"/>
              </a:rPr>
              <a:t>‹#›</a:t>
            </a:fld>
            <a:endParaRPr sz="900" b="1" i="0" dirty="0">
              <a:latin typeface="Lato Black" charset="0"/>
              <a:ea typeface="Lato Black" charset="0"/>
              <a:cs typeface="Lato Black" charset="0"/>
            </a:endParaRPr>
          </a:p>
        </p:txBody>
      </p:sp>
      <p:pic>
        <p:nvPicPr>
          <p:cNvPr id="9" name="Picture 8"/>
          <p:cNvPicPr>
            <a:picLocks noChangeAspect="1"/>
          </p:cNvPicPr>
          <p:nvPr userDrawn="1"/>
        </p:nvPicPr>
        <p:blipFill rotWithShape="1">
          <a:blip r:embed="rId3" cstate="email">
            <a:extLst>
              <a:ext uri="{28A0092B-C50C-407E-A947-70E740481C1C}">
                <a14:useLocalDpi xmlns:a14="http://schemas.microsoft.com/office/drawing/2010/main"/>
              </a:ext>
            </a:extLst>
          </a:blip>
          <a:srcRect t="-192" b="4752"/>
          <a:stretch/>
        </p:blipFill>
        <p:spPr>
          <a:xfrm>
            <a:off x="-2" y="0"/>
            <a:ext cx="12195177" cy="6526810"/>
          </a:xfrm>
          <a:prstGeom prst="rect">
            <a:avLst/>
          </a:prstGeom>
        </p:spPr>
      </p:pic>
      <p:sp>
        <p:nvSpPr>
          <p:cNvPr id="11" name="Rectangle 10"/>
          <p:cNvSpPr/>
          <p:nvPr userDrawn="1"/>
        </p:nvSpPr>
        <p:spPr>
          <a:xfrm>
            <a:off x="-6258" y="3105890"/>
            <a:ext cx="12198260" cy="307775"/>
          </a:xfrm>
          <a:prstGeom prst="rect">
            <a:avLst/>
          </a:prstGeom>
          <a:solidFill>
            <a:srgbClr val="FFFFFF">
              <a:alpha val="40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400" b="0" i="0" u="none" strike="noStrike" cap="none" spc="0" normalizeH="0" baseline="0" dirty="0">
              <a:ln>
                <a:noFill/>
              </a:ln>
              <a:solidFill>
                <a:srgbClr val="000000"/>
              </a:solidFill>
              <a:effectLst/>
              <a:uFillTx/>
              <a:latin typeface="+mn-lt"/>
              <a:ea typeface="+mn-ea"/>
              <a:cs typeface="+mn-cs"/>
              <a:sym typeface="Arial"/>
            </a:endParaRPr>
          </a:p>
        </p:txBody>
      </p:sp>
      <p:sp>
        <p:nvSpPr>
          <p:cNvPr id="13" name="Rectangle 12">
            <a:extLst>
              <a:ext uri="{FF2B5EF4-FFF2-40B4-BE49-F238E27FC236}">
                <a16:creationId xmlns:a16="http://schemas.microsoft.com/office/drawing/2014/main" id="{CC5E6A25-1BFC-1646-8D19-120DD2F02E99}"/>
              </a:ext>
            </a:extLst>
          </p:cNvPr>
          <p:cNvSpPr/>
          <p:nvPr userDrawn="1"/>
        </p:nvSpPr>
        <p:spPr>
          <a:xfrm rot="2700000">
            <a:off x="1678676" y="1169864"/>
            <a:ext cx="2067264" cy="206780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4" name="Rectangle 13">
            <a:extLst>
              <a:ext uri="{FF2B5EF4-FFF2-40B4-BE49-F238E27FC236}">
                <a16:creationId xmlns:a16="http://schemas.microsoft.com/office/drawing/2014/main" id="{F493812C-9094-3E43-8149-F619F35B4BD3}"/>
              </a:ext>
            </a:extLst>
          </p:cNvPr>
          <p:cNvSpPr/>
          <p:nvPr userDrawn="1"/>
        </p:nvSpPr>
        <p:spPr>
          <a:xfrm rot="2700000">
            <a:off x="749096" y="972105"/>
            <a:ext cx="984978" cy="1022405"/>
          </a:xfrm>
          <a:prstGeom prst="rect">
            <a:avLst/>
          </a:prstGeom>
          <a:solidFill>
            <a:srgbClr val="D3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6" name="Freeform 15">
            <a:extLst>
              <a:ext uri="{FF2B5EF4-FFF2-40B4-BE49-F238E27FC236}">
                <a16:creationId xmlns:a16="http://schemas.microsoft.com/office/drawing/2014/main" id="{96433316-ABD9-9249-B979-273C312417E9}"/>
              </a:ext>
            </a:extLst>
          </p:cNvPr>
          <p:cNvSpPr/>
          <p:nvPr userDrawn="1"/>
        </p:nvSpPr>
        <p:spPr>
          <a:xfrm>
            <a:off x="2728014" y="2456354"/>
            <a:ext cx="9473418" cy="1911993"/>
          </a:xfrm>
          <a:custGeom>
            <a:avLst/>
            <a:gdLst>
              <a:gd name="connsiteX0" fmla="*/ 1221499 w 9470951"/>
              <a:gd name="connsiteY0" fmla="*/ 0 h 1911993"/>
              <a:gd name="connsiteX1" fmla="*/ 2883371 w 9470951"/>
              <a:gd name="connsiteY1" fmla="*/ 0 h 1911993"/>
              <a:gd name="connsiteX2" fmla="*/ 7809078 w 9470951"/>
              <a:gd name="connsiteY2" fmla="*/ 0 h 1911993"/>
              <a:gd name="connsiteX3" fmla="*/ 9470951 w 9470951"/>
              <a:gd name="connsiteY3" fmla="*/ 0 h 1911993"/>
              <a:gd name="connsiteX4" fmla="*/ 9470951 w 9470951"/>
              <a:gd name="connsiteY4" fmla="*/ 1911993 h 1911993"/>
              <a:gd name="connsiteX5" fmla="*/ 7809078 w 9470951"/>
              <a:gd name="connsiteY5" fmla="*/ 1911993 h 1911993"/>
              <a:gd name="connsiteX6" fmla="*/ 2347809 w 9470951"/>
              <a:gd name="connsiteY6" fmla="*/ 1911993 h 1911993"/>
              <a:gd name="connsiteX7" fmla="*/ 685936 w 9470951"/>
              <a:gd name="connsiteY7" fmla="*/ 1911993 h 1911993"/>
              <a:gd name="connsiteX8" fmla="*/ 0 w 9470951"/>
              <a:gd name="connsiteY8" fmla="*/ 1224419 h 1911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70951" h="1911993">
                <a:moveTo>
                  <a:pt x="1221499" y="0"/>
                </a:moveTo>
                <a:lnTo>
                  <a:pt x="2883371" y="0"/>
                </a:lnTo>
                <a:lnTo>
                  <a:pt x="7809078" y="0"/>
                </a:lnTo>
                <a:lnTo>
                  <a:pt x="9470951" y="0"/>
                </a:lnTo>
                <a:lnTo>
                  <a:pt x="9470951" y="1911993"/>
                </a:lnTo>
                <a:lnTo>
                  <a:pt x="7809078" y="1911993"/>
                </a:lnTo>
                <a:lnTo>
                  <a:pt x="2347809" y="1911993"/>
                </a:lnTo>
                <a:lnTo>
                  <a:pt x="685936" y="1911993"/>
                </a:lnTo>
                <a:lnTo>
                  <a:pt x="0" y="1224419"/>
                </a:lnTo>
                <a:close/>
              </a:path>
            </a:pathLst>
          </a:custGeom>
          <a:solidFill>
            <a:srgbClr val="3D404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grpSp>
        <p:nvGrpSpPr>
          <p:cNvPr id="17" name="Group 16">
            <a:extLst>
              <a:ext uri="{FF2B5EF4-FFF2-40B4-BE49-F238E27FC236}">
                <a16:creationId xmlns:a16="http://schemas.microsoft.com/office/drawing/2014/main" id="{4C3504EC-7F24-4645-9084-158B2A10BA73}"/>
              </a:ext>
            </a:extLst>
          </p:cNvPr>
          <p:cNvGrpSpPr/>
          <p:nvPr userDrawn="1"/>
        </p:nvGrpSpPr>
        <p:grpSpPr>
          <a:xfrm rot="2700000">
            <a:off x="61661" y="3014100"/>
            <a:ext cx="3086274" cy="2058779"/>
            <a:chOff x="347228" y="2784028"/>
            <a:chExt cx="2866466" cy="1906233"/>
          </a:xfrm>
        </p:grpSpPr>
        <p:sp>
          <p:nvSpPr>
            <p:cNvPr id="18" name="Rectangle 17">
              <a:extLst>
                <a:ext uri="{FF2B5EF4-FFF2-40B4-BE49-F238E27FC236}">
                  <a16:creationId xmlns:a16="http://schemas.microsoft.com/office/drawing/2014/main" id="{7BEF9C86-7051-4246-A298-AC62509994FF}"/>
                </a:ext>
              </a:extLst>
            </p:cNvPr>
            <p:cNvSpPr/>
            <p:nvPr/>
          </p:nvSpPr>
          <p:spPr>
            <a:xfrm>
              <a:off x="347228" y="2784028"/>
              <a:ext cx="941779" cy="94177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9" name="Rectangle 18">
              <a:extLst>
                <a:ext uri="{FF2B5EF4-FFF2-40B4-BE49-F238E27FC236}">
                  <a16:creationId xmlns:a16="http://schemas.microsoft.com/office/drawing/2014/main" id="{003A20C8-A82A-F04B-A15F-179B47A3C3EC}"/>
                </a:ext>
              </a:extLst>
            </p:cNvPr>
            <p:cNvSpPr/>
            <p:nvPr/>
          </p:nvSpPr>
          <p:spPr>
            <a:xfrm>
              <a:off x="1309572" y="2784028"/>
              <a:ext cx="941779" cy="94177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0" name="Rectangle 19">
              <a:extLst>
                <a:ext uri="{FF2B5EF4-FFF2-40B4-BE49-F238E27FC236}">
                  <a16:creationId xmlns:a16="http://schemas.microsoft.com/office/drawing/2014/main" id="{FC39E1A3-7D26-964A-BF08-154A69706B08}"/>
                </a:ext>
              </a:extLst>
            </p:cNvPr>
            <p:cNvSpPr/>
            <p:nvPr/>
          </p:nvSpPr>
          <p:spPr>
            <a:xfrm>
              <a:off x="2271915" y="2784028"/>
              <a:ext cx="941779" cy="94177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1" name="Rectangle 20">
              <a:extLst>
                <a:ext uri="{FF2B5EF4-FFF2-40B4-BE49-F238E27FC236}">
                  <a16:creationId xmlns:a16="http://schemas.microsoft.com/office/drawing/2014/main" id="{997E7AA4-E684-3C49-BEF7-9B742182DF48}"/>
                </a:ext>
              </a:extLst>
            </p:cNvPr>
            <p:cNvSpPr/>
            <p:nvPr/>
          </p:nvSpPr>
          <p:spPr>
            <a:xfrm>
              <a:off x="2270583" y="3748482"/>
              <a:ext cx="941779" cy="94177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grpSp>
        <p:nvGrpSpPr>
          <p:cNvPr id="22" name="Group 21">
            <a:extLst>
              <a:ext uri="{FF2B5EF4-FFF2-40B4-BE49-F238E27FC236}">
                <a16:creationId xmlns:a16="http://schemas.microsoft.com/office/drawing/2014/main" id="{96E7C906-8461-B943-8D14-6120EFA61DE9}"/>
              </a:ext>
            </a:extLst>
          </p:cNvPr>
          <p:cNvGrpSpPr/>
          <p:nvPr userDrawn="1"/>
        </p:nvGrpSpPr>
        <p:grpSpPr>
          <a:xfrm>
            <a:off x="931851" y="1176611"/>
            <a:ext cx="636599" cy="630708"/>
            <a:chOff x="6623050" y="620713"/>
            <a:chExt cx="882651" cy="874712"/>
          </a:xfrm>
          <a:solidFill>
            <a:schemeClr val="bg1"/>
          </a:solidFill>
        </p:grpSpPr>
        <p:sp>
          <p:nvSpPr>
            <p:cNvPr id="23" name="Freeform 6">
              <a:extLst>
                <a:ext uri="{FF2B5EF4-FFF2-40B4-BE49-F238E27FC236}">
                  <a16:creationId xmlns:a16="http://schemas.microsoft.com/office/drawing/2014/main" id="{8C88A119-AC68-FA4A-8F9D-17248327ABF2}"/>
                </a:ext>
              </a:extLst>
            </p:cNvPr>
            <p:cNvSpPr>
              <a:spLocks noEditPoints="1"/>
            </p:cNvSpPr>
            <p:nvPr/>
          </p:nvSpPr>
          <p:spPr bwMode="auto">
            <a:xfrm>
              <a:off x="6623050" y="819150"/>
              <a:ext cx="682625" cy="676275"/>
            </a:xfrm>
            <a:custGeom>
              <a:avLst/>
              <a:gdLst>
                <a:gd name="T0" fmla="*/ 890 w 1223"/>
                <a:gd name="T1" fmla="*/ 1163 h 1212"/>
                <a:gd name="T2" fmla="*/ 914 w 1223"/>
                <a:gd name="T3" fmla="*/ 1007 h 1212"/>
                <a:gd name="T4" fmla="*/ 1066 w 1223"/>
                <a:gd name="T5" fmla="*/ 924 h 1212"/>
                <a:gd name="T6" fmla="*/ 1173 w 1223"/>
                <a:gd name="T7" fmla="*/ 879 h 1212"/>
                <a:gd name="T8" fmla="*/ 1161 w 1223"/>
                <a:gd name="T9" fmla="*/ 694 h 1212"/>
                <a:gd name="T10" fmla="*/ 1048 w 1223"/>
                <a:gd name="T11" fmla="*/ 681 h 1212"/>
                <a:gd name="T12" fmla="*/ 1137 w 1223"/>
                <a:gd name="T13" fmla="*/ 752 h 1212"/>
                <a:gd name="T14" fmla="*/ 1115 w 1223"/>
                <a:gd name="T15" fmla="*/ 855 h 1212"/>
                <a:gd name="T16" fmla="*/ 1090 w 1223"/>
                <a:gd name="T17" fmla="*/ 866 h 1212"/>
                <a:gd name="T18" fmla="*/ 980 w 1223"/>
                <a:gd name="T19" fmla="*/ 847 h 1212"/>
                <a:gd name="T20" fmla="*/ 846 w 1223"/>
                <a:gd name="T21" fmla="*/ 1008 h 1212"/>
                <a:gd name="T22" fmla="*/ 866 w 1223"/>
                <a:gd name="T23" fmla="*/ 1104 h 1212"/>
                <a:gd name="T24" fmla="*/ 773 w 1223"/>
                <a:gd name="T25" fmla="*/ 1137 h 1212"/>
                <a:gd name="T26" fmla="*/ 733 w 1223"/>
                <a:gd name="T27" fmla="*/ 1054 h 1212"/>
                <a:gd name="T28" fmla="*/ 525 w 1223"/>
                <a:gd name="T29" fmla="*/ 1036 h 1212"/>
                <a:gd name="T30" fmla="*/ 460 w 1223"/>
                <a:gd name="T31" fmla="*/ 1126 h 1212"/>
                <a:gd name="T32" fmla="*/ 357 w 1223"/>
                <a:gd name="T33" fmla="*/ 1104 h 1212"/>
                <a:gd name="T34" fmla="*/ 347 w 1223"/>
                <a:gd name="T35" fmla="*/ 1079 h 1212"/>
                <a:gd name="T36" fmla="*/ 365 w 1223"/>
                <a:gd name="T37" fmla="*/ 969 h 1212"/>
                <a:gd name="T38" fmla="*/ 204 w 1223"/>
                <a:gd name="T39" fmla="*/ 835 h 1212"/>
                <a:gd name="T40" fmla="*/ 118 w 1223"/>
                <a:gd name="T41" fmla="*/ 865 h 1212"/>
                <a:gd name="T42" fmla="*/ 75 w 1223"/>
                <a:gd name="T43" fmla="*/ 776 h 1212"/>
                <a:gd name="T44" fmla="*/ 86 w 1223"/>
                <a:gd name="T45" fmla="*/ 752 h 1212"/>
                <a:gd name="T46" fmla="*/ 177 w 1223"/>
                <a:gd name="T47" fmla="*/ 686 h 1212"/>
                <a:gd name="T48" fmla="*/ 158 w 1223"/>
                <a:gd name="T49" fmla="*/ 479 h 1212"/>
                <a:gd name="T50" fmla="*/ 75 w 1223"/>
                <a:gd name="T51" fmla="*/ 424 h 1212"/>
                <a:gd name="T52" fmla="*/ 133 w 1223"/>
                <a:gd name="T53" fmla="*/ 336 h 1212"/>
                <a:gd name="T54" fmla="*/ 243 w 1223"/>
                <a:gd name="T55" fmla="*/ 354 h 1212"/>
                <a:gd name="T56" fmla="*/ 377 w 1223"/>
                <a:gd name="T57" fmla="*/ 194 h 1212"/>
                <a:gd name="T58" fmla="*/ 347 w 1223"/>
                <a:gd name="T59" fmla="*/ 107 h 1212"/>
                <a:gd name="T60" fmla="*/ 436 w 1223"/>
                <a:gd name="T61" fmla="*/ 65 h 1212"/>
                <a:gd name="T62" fmla="*/ 460 w 1223"/>
                <a:gd name="T63" fmla="*/ 75 h 1212"/>
                <a:gd name="T64" fmla="*/ 531 w 1223"/>
                <a:gd name="T65" fmla="*/ 164 h 1212"/>
                <a:gd name="T66" fmla="*/ 519 w 1223"/>
                <a:gd name="T67" fmla="*/ 51 h 1212"/>
                <a:gd name="T68" fmla="*/ 443 w 1223"/>
                <a:gd name="T69" fmla="*/ 0 h 1212"/>
                <a:gd name="T70" fmla="*/ 333 w 1223"/>
                <a:gd name="T71" fmla="*/ 39 h 1212"/>
                <a:gd name="T72" fmla="*/ 289 w 1223"/>
                <a:gd name="T73" fmla="*/ 146 h 1212"/>
                <a:gd name="T74" fmla="*/ 206 w 1223"/>
                <a:gd name="T75" fmla="*/ 298 h 1212"/>
                <a:gd name="T76" fmla="*/ 50 w 1223"/>
                <a:gd name="T77" fmla="*/ 322 h 1212"/>
                <a:gd name="T78" fmla="*/ 62 w 1223"/>
                <a:gd name="T79" fmla="*/ 508 h 1212"/>
                <a:gd name="T80" fmla="*/ 110 w 1223"/>
                <a:gd name="T81" fmla="*/ 673 h 1212"/>
                <a:gd name="T82" fmla="*/ 17 w 1223"/>
                <a:gd name="T83" fmla="*/ 738 h 1212"/>
                <a:gd name="T84" fmla="*/ 50 w 1223"/>
                <a:gd name="T85" fmla="*/ 879 h 1212"/>
                <a:gd name="T86" fmla="*/ 157 w 1223"/>
                <a:gd name="T87" fmla="*/ 924 h 1212"/>
                <a:gd name="T88" fmla="*/ 308 w 1223"/>
                <a:gd name="T89" fmla="*/ 1006 h 1212"/>
                <a:gd name="T90" fmla="*/ 288 w 1223"/>
                <a:gd name="T91" fmla="*/ 1118 h 1212"/>
                <a:gd name="T92" fmla="*/ 411 w 1223"/>
                <a:gd name="T93" fmla="*/ 1195 h 1212"/>
                <a:gd name="T94" fmla="*/ 539 w 1223"/>
                <a:gd name="T95" fmla="*/ 1102 h 1212"/>
                <a:gd name="T96" fmla="*/ 704 w 1223"/>
                <a:gd name="T97" fmla="*/ 1150 h 1212"/>
                <a:gd name="T98" fmla="*/ 811 w 1223"/>
                <a:gd name="T99" fmla="*/ 1195 h 1212"/>
                <a:gd name="T100" fmla="*/ 811 w 1223"/>
                <a:gd name="T101" fmla="*/ 1195 h 1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23" h="1212">
                  <a:moveTo>
                    <a:pt x="811" y="1195"/>
                  </a:moveTo>
                  <a:cubicBezTo>
                    <a:pt x="890" y="1163"/>
                    <a:pt x="890" y="1163"/>
                    <a:pt x="890" y="1163"/>
                  </a:cubicBezTo>
                  <a:cubicBezTo>
                    <a:pt x="932" y="1145"/>
                    <a:pt x="952" y="1097"/>
                    <a:pt x="934" y="1055"/>
                  </a:cubicBezTo>
                  <a:cubicBezTo>
                    <a:pt x="914" y="1007"/>
                    <a:pt x="914" y="1007"/>
                    <a:pt x="914" y="1007"/>
                  </a:cubicBezTo>
                  <a:cubicBezTo>
                    <a:pt x="954" y="978"/>
                    <a:pt x="988" y="943"/>
                    <a:pt x="1017" y="904"/>
                  </a:cubicBezTo>
                  <a:cubicBezTo>
                    <a:pt x="1066" y="924"/>
                    <a:pt x="1066" y="924"/>
                    <a:pt x="1066" y="924"/>
                  </a:cubicBezTo>
                  <a:cubicBezTo>
                    <a:pt x="1086" y="932"/>
                    <a:pt x="1108" y="932"/>
                    <a:pt x="1129" y="924"/>
                  </a:cubicBezTo>
                  <a:cubicBezTo>
                    <a:pt x="1149" y="916"/>
                    <a:pt x="1165" y="900"/>
                    <a:pt x="1173" y="879"/>
                  </a:cubicBezTo>
                  <a:cubicBezTo>
                    <a:pt x="1206" y="801"/>
                    <a:pt x="1206" y="801"/>
                    <a:pt x="1206" y="801"/>
                  </a:cubicBezTo>
                  <a:cubicBezTo>
                    <a:pt x="1223" y="759"/>
                    <a:pt x="1203" y="711"/>
                    <a:pt x="1161" y="694"/>
                  </a:cubicBezTo>
                  <a:cubicBezTo>
                    <a:pt x="1089" y="664"/>
                    <a:pt x="1089" y="664"/>
                    <a:pt x="1089" y="664"/>
                  </a:cubicBezTo>
                  <a:cubicBezTo>
                    <a:pt x="1073" y="657"/>
                    <a:pt x="1055" y="665"/>
                    <a:pt x="1048" y="681"/>
                  </a:cubicBezTo>
                  <a:cubicBezTo>
                    <a:pt x="1041" y="698"/>
                    <a:pt x="1049" y="716"/>
                    <a:pt x="1065" y="723"/>
                  </a:cubicBezTo>
                  <a:cubicBezTo>
                    <a:pt x="1137" y="752"/>
                    <a:pt x="1137" y="752"/>
                    <a:pt x="1137" y="752"/>
                  </a:cubicBezTo>
                  <a:cubicBezTo>
                    <a:pt x="1147" y="756"/>
                    <a:pt x="1151" y="767"/>
                    <a:pt x="1147" y="777"/>
                  </a:cubicBezTo>
                  <a:cubicBezTo>
                    <a:pt x="1115" y="855"/>
                    <a:pt x="1115" y="855"/>
                    <a:pt x="1115" y="855"/>
                  </a:cubicBezTo>
                  <a:cubicBezTo>
                    <a:pt x="1113" y="860"/>
                    <a:pt x="1109" y="864"/>
                    <a:pt x="1105" y="866"/>
                  </a:cubicBezTo>
                  <a:cubicBezTo>
                    <a:pt x="1100" y="868"/>
                    <a:pt x="1095" y="868"/>
                    <a:pt x="1090" y="866"/>
                  </a:cubicBezTo>
                  <a:cubicBezTo>
                    <a:pt x="1018" y="836"/>
                    <a:pt x="1018" y="836"/>
                    <a:pt x="1018" y="836"/>
                  </a:cubicBezTo>
                  <a:cubicBezTo>
                    <a:pt x="1004" y="830"/>
                    <a:pt x="988" y="835"/>
                    <a:pt x="980" y="847"/>
                  </a:cubicBezTo>
                  <a:cubicBezTo>
                    <a:pt x="947" y="896"/>
                    <a:pt x="907" y="937"/>
                    <a:pt x="858" y="969"/>
                  </a:cubicBezTo>
                  <a:cubicBezTo>
                    <a:pt x="845" y="978"/>
                    <a:pt x="840" y="994"/>
                    <a:pt x="846" y="1008"/>
                  </a:cubicBezTo>
                  <a:cubicBezTo>
                    <a:pt x="876" y="1080"/>
                    <a:pt x="876" y="1080"/>
                    <a:pt x="876" y="1080"/>
                  </a:cubicBezTo>
                  <a:cubicBezTo>
                    <a:pt x="880" y="1089"/>
                    <a:pt x="875" y="1100"/>
                    <a:pt x="866" y="1104"/>
                  </a:cubicBezTo>
                  <a:cubicBezTo>
                    <a:pt x="787" y="1137"/>
                    <a:pt x="787" y="1137"/>
                    <a:pt x="787" y="1137"/>
                  </a:cubicBezTo>
                  <a:cubicBezTo>
                    <a:pt x="783" y="1139"/>
                    <a:pt x="778" y="1139"/>
                    <a:pt x="773" y="1137"/>
                  </a:cubicBezTo>
                  <a:cubicBezTo>
                    <a:pt x="768" y="1135"/>
                    <a:pt x="764" y="1131"/>
                    <a:pt x="763" y="1126"/>
                  </a:cubicBezTo>
                  <a:cubicBezTo>
                    <a:pt x="733" y="1054"/>
                    <a:pt x="733" y="1054"/>
                    <a:pt x="733" y="1054"/>
                  </a:cubicBezTo>
                  <a:cubicBezTo>
                    <a:pt x="727" y="1040"/>
                    <a:pt x="712" y="1032"/>
                    <a:pt x="697" y="1036"/>
                  </a:cubicBezTo>
                  <a:cubicBezTo>
                    <a:pt x="640" y="1047"/>
                    <a:pt x="582" y="1047"/>
                    <a:pt x="525" y="1036"/>
                  </a:cubicBezTo>
                  <a:cubicBezTo>
                    <a:pt x="510" y="1033"/>
                    <a:pt x="495" y="1041"/>
                    <a:pt x="490" y="1054"/>
                  </a:cubicBezTo>
                  <a:cubicBezTo>
                    <a:pt x="460" y="1126"/>
                    <a:pt x="460" y="1126"/>
                    <a:pt x="460" y="1126"/>
                  </a:cubicBezTo>
                  <a:cubicBezTo>
                    <a:pt x="456" y="1136"/>
                    <a:pt x="445" y="1141"/>
                    <a:pt x="435" y="1137"/>
                  </a:cubicBezTo>
                  <a:cubicBezTo>
                    <a:pt x="357" y="1104"/>
                    <a:pt x="357" y="1104"/>
                    <a:pt x="357" y="1104"/>
                  </a:cubicBezTo>
                  <a:cubicBezTo>
                    <a:pt x="352" y="1102"/>
                    <a:pt x="348" y="1099"/>
                    <a:pt x="347" y="1094"/>
                  </a:cubicBezTo>
                  <a:cubicBezTo>
                    <a:pt x="345" y="1089"/>
                    <a:pt x="345" y="1084"/>
                    <a:pt x="347" y="1079"/>
                  </a:cubicBezTo>
                  <a:cubicBezTo>
                    <a:pt x="376" y="1007"/>
                    <a:pt x="376" y="1007"/>
                    <a:pt x="376" y="1007"/>
                  </a:cubicBezTo>
                  <a:cubicBezTo>
                    <a:pt x="382" y="993"/>
                    <a:pt x="377" y="977"/>
                    <a:pt x="365" y="969"/>
                  </a:cubicBezTo>
                  <a:cubicBezTo>
                    <a:pt x="316" y="937"/>
                    <a:pt x="275" y="896"/>
                    <a:pt x="243" y="847"/>
                  </a:cubicBezTo>
                  <a:cubicBezTo>
                    <a:pt x="235" y="835"/>
                    <a:pt x="218" y="830"/>
                    <a:pt x="204" y="835"/>
                  </a:cubicBezTo>
                  <a:cubicBezTo>
                    <a:pt x="132" y="865"/>
                    <a:pt x="132" y="865"/>
                    <a:pt x="132" y="865"/>
                  </a:cubicBezTo>
                  <a:cubicBezTo>
                    <a:pt x="128" y="867"/>
                    <a:pt x="123" y="867"/>
                    <a:pt x="118" y="865"/>
                  </a:cubicBezTo>
                  <a:cubicBezTo>
                    <a:pt x="114" y="863"/>
                    <a:pt x="110" y="860"/>
                    <a:pt x="108" y="855"/>
                  </a:cubicBezTo>
                  <a:cubicBezTo>
                    <a:pt x="75" y="776"/>
                    <a:pt x="75" y="776"/>
                    <a:pt x="75" y="776"/>
                  </a:cubicBezTo>
                  <a:cubicBezTo>
                    <a:pt x="74" y="772"/>
                    <a:pt x="74" y="767"/>
                    <a:pt x="75" y="762"/>
                  </a:cubicBezTo>
                  <a:cubicBezTo>
                    <a:pt x="77" y="758"/>
                    <a:pt x="81" y="754"/>
                    <a:pt x="86" y="752"/>
                  </a:cubicBezTo>
                  <a:cubicBezTo>
                    <a:pt x="158" y="722"/>
                    <a:pt x="158" y="722"/>
                    <a:pt x="158" y="722"/>
                  </a:cubicBezTo>
                  <a:cubicBezTo>
                    <a:pt x="172" y="716"/>
                    <a:pt x="179" y="702"/>
                    <a:pt x="177" y="686"/>
                  </a:cubicBezTo>
                  <a:cubicBezTo>
                    <a:pt x="165" y="630"/>
                    <a:pt x="165" y="571"/>
                    <a:pt x="177" y="514"/>
                  </a:cubicBezTo>
                  <a:cubicBezTo>
                    <a:pt x="179" y="500"/>
                    <a:pt x="171" y="485"/>
                    <a:pt x="158" y="479"/>
                  </a:cubicBezTo>
                  <a:cubicBezTo>
                    <a:pt x="86" y="449"/>
                    <a:pt x="86" y="449"/>
                    <a:pt x="86" y="449"/>
                  </a:cubicBezTo>
                  <a:cubicBezTo>
                    <a:pt x="76" y="445"/>
                    <a:pt x="72" y="434"/>
                    <a:pt x="75" y="424"/>
                  </a:cubicBezTo>
                  <a:cubicBezTo>
                    <a:pt x="108" y="346"/>
                    <a:pt x="108" y="346"/>
                    <a:pt x="108" y="346"/>
                  </a:cubicBezTo>
                  <a:cubicBezTo>
                    <a:pt x="112" y="336"/>
                    <a:pt x="123" y="332"/>
                    <a:pt x="133" y="336"/>
                  </a:cubicBezTo>
                  <a:cubicBezTo>
                    <a:pt x="205" y="366"/>
                    <a:pt x="205" y="366"/>
                    <a:pt x="205" y="366"/>
                  </a:cubicBezTo>
                  <a:cubicBezTo>
                    <a:pt x="219" y="371"/>
                    <a:pt x="235" y="366"/>
                    <a:pt x="243" y="354"/>
                  </a:cubicBezTo>
                  <a:cubicBezTo>
                    <a:pt x="275" y="305"/>
                    <a:pt x="316" y="264"/>
                    <a:pt x="365" y="232"/>
                  </a:cubicBezTo>
                  <a:cubicBezTo>
                    <a:pt x="378" y="224"/>
                    <a:pt x="383" y="207"/>
                    <a:pt x="377" y="194"/>
                  </a:cubicBezTo>
                  <a:cubicBezTo>
                    <a:pt x="347" y="122"/>
                    <a:pt x="347" y="122"/>
                    <a:pt x="347" y="122"/>
                  </a:cubicBezTo>
                  <a:cubicBezTo>
                    <a:pt x="345" y="117"/>
                    <a:pt x="345" y="112"/>
                    <a:pt x="347" y="107"/>
                  </a:cubicBezTo>
                  <a:cubicBezTo>
                    <a:pt x="349" y="103"/>
                    <a:pt x="353" y="99"/>
                    <a:pt x="357" y="97"/>
                  </a:cubicBezTo>
                  <a:cubicBezTo>
                    <a:pt x="436" y="65"/>
                    <a:pt x="436" y="65"/>
                    <a:pt x="436" y="65"/>
                  </a:cubicBezTo>
                  <a:cubicBezTo>
                    <a:pt x="440" y="63"/>
                    <a:pt x="445" y="63"/>
                    <a:pt x="450" y="65"/>
                  </a:cubicBezTo>
                  <a:cubicBezTo>
                    <a:pt x="455" y="67"/>
                    <a:pt x="459" y="70"/>
                    <a:pt x="460" y="75"/>
                  </a:cubicBezTo>
                  <a:cubicBezTo>
                    <a:pt x="490" y="147"/>
                    <a:pt x="490" y="147"/>
                    <a:pt x="490" y="147"/>
                  </a:cubicBezTo>
                  <a:cubicBezTo>
                    <a:pt x="497" y="163"/>
                    <a:pt x="515" y="171"/>
                    <a:pt x="531" y="164"/>
                  </a:cubicBezTo>
                  <a:cubicBezTo>
                    <a:pt x="548" y="158"/>
                    <a:pt x="555" y="139"/>
                    <a:pt x="549" y="123"/>
                  </a:cubicBezTo>
                  <a:cubicBezTo>
                    <a:pt x="519" y="51"/>
                    <a:pt x="519" y="51"/>
                    <a:pt x="519" y="51"/>
                  </a:cubicBezTo>
                  <a:cubicBezTo>
                    <a:pt x="511" y="31"/>
                    <a:pt x="495" y="15"/>
                    <a:pt x="475" y="6"/>
                  </a:cubicBezTo>
                  <a:cubicBezTo>
                    <a:pt x="464" y="2"/>
                    <a:pt x="454" y="0"/>
                    <a:pt x="443" y="0"/>
                  </a:cubicBezTo>
                  <a:cubicBezTo>
                    <a:pt x="433" y="0"/>
                    <a:pt x="422" y="2"/>
                    <a:pt x="412" y="6"/>
                  </a:cubicBezTo>
                  <a:cubicBezTo>
                    <a:pt x="333" y="39"/>
                    <a:pt x="333" y="39"/>
                    <a:pt x="333" y="39"/>
                  </a:cubicBezTo>
                  <a:cubicBezTo>
                    <a:pt x="313" y="47"/>
                    <a:pt x="297" y="63"/>
                    <a:pt x="289" y="83"/>
                  </a:cubicBezTo>
                  <a:cubicBezTo>
                    <a:pt x="281" y="103"/>
                    <a:pt x="281" y="126"/>
                    <a:pt x="289" y="146"/>
                  </a:cubicBezTo>
                  <a:cubicBezTo>
                    <a:pt x="309" y="195"/>
                    <a:pt x="309" y="195"/>
                    <a:pt x="309" y="195"/>
                  </a:cubicBezTo>
                  <a:cubicBezTo>
                    <a:pt x="270" y="224"/>
                    <a:pt x="235" y="258"/>
                    <a:pt x="206" y="298"/>
                  </a:cubicBezTo>
                  <a:cubicBezTo>
                    <a:pt x="157" y="278"/>
                    <a:pt x="157" y="278"/>
                    <a:pt x="157" y="278"/>
                  </a:cubicBezTo>
                  <a:cubicBezTo>
                    <a:pt x="115" y="260"/>
                    <a:pt x="67" y="280"/>
                    <a:pt x="50" y="322"/>
                  </a:cubicBezTo>
                  <a:cubicBezTo>
                    <a:pt x="17" y="400"/>
                    <a:pt x="17" y="400"/>
                    <a:pt x="17" y="400"/>
                  </a:cubicBezTo>
                  <a:cubicBezTo>
                    <a:pt x="0" y="442"/>
                    <a:pt x="20" y="490"/>
                    <a:pt x="62" y="508"/>
                  </a:cubicBezTo>
                  <a:cubicBezTo>
                    <a:pt x="110" y="528"/>
                    <a:pt x="110" y="528"/>
                    <a:pt x="110" y="528"/>
                  </a:cubicBezTo>
                  <a:cubicBezTo>
                    <a:pt x="103" y="576"/>
                    <a:pt x="103" y="625"/>
                    <a:pt x="110" y="673"/>
                  </a:cubicBezTo>
                  <a:cubicBezTo>
                    <a:pt x="62" y="694"/>
                    <a:pt x="62" y="694"/>
                    <a:pt x="62" y="694"/>
                  </a:cubicBezTo>
                  <a:cubicBezTo>
                    <a:pt x="42" y="702"/>
                    <a:pt x="26" y="718"/>
                    <a:pt x="17" y="738"/>
                  </a:cubicBezTo>
                  <a:cubicBezTo>
                    <a:pt x="9" y="758"/>
                    <a:pt x="9" y="781"/>
                    <a:pt x="17" y="801"/>
                  </a:cubicBezTo>
                  <a:cubicBezTo>
                    <a:pt x="50" y="879"/>
                    <a:pt x="50" y="879"/>
                    <a:pt x="50" y="879"/>
                  </a:cubicBezTo>
                  <a:cubicBezTo>
                    <a:pt x="58" y="899"/>
                    <a:pt x="74" y="915"/>
                    <a:pt x="94" y="924"/>
                  </a:cubicBezTo>
                  <a:cubicBezTo>
                    <a:pt x="114" y="932"/>
                    <a:pt x="137" y="932"/>
                    <a:pt x="157" y="924"/>
                  </a:cubicBezTo>
                  <a:cubicBezTo>
                    <a:pt x="205" y="903"/>
                    <a:pt x="205" y="903"/>
                    <a:pt x="205" y="903"/>
                  </a:cubicBezTo>
                  <a:cubicBezTo>
                    <a:pt x="235" y="943"/>
                    <a:pt x="269" y="977"/>
                    <a:pt x="308" y="1006"/>
                  </a:cubicBezTo>
                  <a:cubicBezTo>
                    <a:pt x="288" y="1055"/>
                    <a:pt x="288" y="1055"/>
                    <a:pt x="288" y="1055"/>
                  </a:cubicBezTo>
                  <a:cubicBezTo>
                    <a:pt x="280" y="1075"/>
                    <a:pt x="280" y="1098"/>
                    <a:pt x="288" y="1118"/>
                  </a:cubicBezTo>
                  <a:cubicBezTo>
                    <a:pt x="297" y="1138"/>
                    <a:pt x="313" y="1154"/>
                    <a:pt x="333" y="1162"/>
                  </a:cubicBezTo>
                  <a:cubicBezTo>
                    <a:pt x="411" y="1195"/>
                    <a:pt x="411" y="1195"/>
                    <a:pt x="411" y="1195"/>
                  </a:cubicBezTo>
                  <a:cubicBezTo>
                    <a:pt x="453" y="1212"/>
                    <a:pt x="501" y="1192"/>
                    <a:pt x="518" y="1150"/>
                  </a:cubicBezTo>
                  <a:cubicBezTo>
                    <a:pt x="539" y="1102"/>
                    <a:pt x="539" y="1102"/>
                    <a:pt x="539" y="1102"/>
                  </a:cubicBezTo>
                  <a:cubicBezTo>
                    <a:pt x="587" y="1109"/>
                    <a:pt x="636" y="1109"/>
                    <a:pt x="684" y="1102"/>
                  </a:cubicBezTo>
                  <a:cubicBezTo>
                    <a:pt x="704" y="1150"/>
                    <a:pt x="704" y="1150"/>
                    <a:pt x="704" y="1150"/>
                  </a:cubicBezTo>
                  <a:cubicBezTo>
                    <a:pt x="713" y="1171"/>
                    <a:pt x="729" y="1187"/>
                    <a:pt x="749" y="1195"/>
                  </a:cubicBezTo>
                  <a:cubicBezTo>
                    <a:pt x="769" y="1203"/>
                    <a:pt x="791" y="1203"/>
                    <a:pt x="811" y="1195"/>
                  </a:cubicBezTo>
                  <a:close/>
                  <a:moveTo>
                    <a:pt x="811" y="1195"/>
                  </a:moveTo>
                  <a:cubicBezTo>
                    <a:pt x="811" y="1195"/>
                    <a:pt x="811" y="1195"/>
                    <a:pt x="811" y="119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4" name="Freeform 7">
              <a:extLst>
                <a:ext uri="{FF2B5EF4-FFF2-40B4-BE49-F238E27FC236}">
                  <a16:creationId xmlns:a16="http://schemas.microsoft.com/office/drawing/2014/main" id="{2B3C9D13-B8EF-3541-A725-33EE2137077F}"/>
                </a:ext>
              </a:extLst>
            </p:cNvPr>
            <p:cNvSpPr>
              <a:spLocks noEditPoints="1"/>
            </p:cNvSpPr>
            <p:nvPr/>
          </p:nvSpPr>
          <p:spPr bwMode="auto">
            <a:xfrm>
              <a:off x="6819900" y="1009650"/>
              <a:ext cx="288925" cy="288925"/>
            </a:xfrm>
            <a:custGeom>
              <a:avLst/>
              <a:gdLst>
                <a:gd name="T0" fmla="*/ 1 w 517"/>
                <a:gd name="T1" fmla="*/ 260 h 515"/>
                <a:gd name="T2" fmla="*/ 258 w 517"/>
                <a:gd name="T3" fmla="*/ 515 h 515"/>
                <a:gd name="T4" fmla="*/ 260 w 517"/>
                <a:gd name="T5" fmla="*/ 515 h 515"/>
                <a:gd name="T6" fmla="*/ 442 w 517"/>
                <a:gd name="T7" fmla="*/ 439 h 515"/>
                <a:gd name="T8" fmla="*/ 516 w 517"/>
                <a:gd name="T9" fmla="*/ 256 h 515"/>
                <a:gd name="T10" fmla="*/ 485 w 517"/>
                <a:gd name="T11" fmla="*/ 224 h 515"/>
                <a:gd name="T12" fmla="*/ 484 w 517"/>
                <a:gd name="T13" fmla="*/ 224 h 515"/>
                <a:gd name="T14" fmla="*/ 453 w 517"/>
                <a:gd name="T15" fmla="*/ 256 h 515"/>
                <a:gd name="T16" fmla="*/ 397 w 517"/>
                <a:gd name="T17" fmla="*/ 394 h 515"/>
                <a:gd name="T18" fmla="*/ 260 w 517"/>
                <a:gd name="T19" fmla="*/ 452 h 515"/>
                <a:gd name="T20" fmla="*/ 259 w 517"/>
                <a:gd name="T21" fmla="*/ 452 h 515"/>
                <a:gd name="T22" fmla="*/ 65 w 517"/>
                <a:gd name="T23" fmla="*/ 259 h 515"/>
                <a:gd name="T24" fmla="*/ 258 w 517"/>
                <a:gd name="T25" fmla="*/ 63 h 515"/>
                <a:gd name="T26" fmla="*/ 289 w 517"/>
                <a:gd name="T27" fmla="*/ 31 h 515"/>
                <a:gd name="T28" fmla="*/ 257 w 517"/>
                <a:gd name="T29" fmla="*/ 0 h 515"/>
                <a:gd name="T30" fmla="*/ 257 w 517"/>
                <a:gd name="T31" fmla="*/ 0 h 515"/>
                <a:gd name="T32" fmla="*/ 1 w 517"/>
                <a:gd name="T33" fmla="*/ 260 h 515"/>
                <a:gd name="T34" fmla="*/ 1 w 517"/>
                <a:gd name="T35" fmla="*/ 260 h 515"/>
                <a:gd name="T36" fmla="*/ 1 w 517"/>
                <a:gd name="T37" fmla="*/ 26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7" h="515">
                  <a:moveTo>
                    <a:pt x="1" y="260"/>
                  </a:moveTo>
                  <a:cubicBezTo>
                    <a:pt x="2" y="401"/>
                    <a:pt x="117" y="515"/>
                    <a:pt x="258" y="515"/>
                  </a:cubicBezTo>
                  <a:cubicBezTo>
                    <a:pt x="260" y="515"/>
                    <a:pt x="260" y="515"/>
                    <a:pt x="260" y="515"/>
                  </a:cubicBezTo>
                  <a:cubicBezTo>
                    <a:pt x="329" y="515"/>
                    <a:pt x="394" y="487"/>
                    <a:pt x="442" y="439"/>
                  </a:cubicBezTo>
                  <a:cubicBezTo>
                    <a:pt x="490" y="390"/>
                    <a:pt x="517" y="325"/>
                    <a:pt x="516" y="256"/>
                  </a:cubicBezTo>
                  <a:cubicBezTo>
                    <a:pt x="516" y="239"/>
                    <a:pt x="502" y="224"/>
                    <a:pt x="485" y="224"/>
                  </a:cubicBezTo>
                  <a:cubicBezTo>
                    <a:pt x="484" y="224"/>
                    <a:pt x="484" y="224"/>
                    <a:pt x="484" y="224"/>
                  </a:cubicBezTo>
                  <a:cubicBezTo>
                    <a:pt x="467" y="224"/>
                    <a:pt x="453" y="239"/>
                    <a:pt x="453" y="256"/>
                  </a:cubicBezTo>
                  <a:cubicBezTo>
                    <a:pt x="453" y="308"/>
                    <a:pt x="434" y="357"/>
                    <a:pt x="397" y="394"/>
                  </a:cubicBezTo>
                  <a:cubicBezTo>
                    <a:pt x="361" y="431"/>
                    <a:pt x="312" y="452"/>
                    <a:pt x="260" y="452"/>
                  </a:cubicBezTo>
                  <a:cubicBezTo>
                    <a:pt x="259" y="452"/>
                    <a:pt x="259" y="452"/>
                    <a:pt x="259" y="452"/>
                  </a:cubicBezTo>
                  <a:cubicBezTo>
                    <a:pt x="152" y="452"/>
                    <a:pt x="65" y="366"/>
                    <a:pt x="65" y="259"/>
                  </a:cubicBezTo>
                  <a:cubicBezTo>
                    <a:pt x="64" y="152"/>
                    <a:pt x="150" y="64"/>
                    <a:pt x="258" y="63"/>
                  </a:cubicBezTo>
                  <a:cubicBezTo>
                    <a:pt x="275" y="63"/>
                    <a:pt x="289" y="49"/>
                    <a:pt x="289" y="31"/>
                  </a:cubicBezTo>
                  <a:cubicBezTo>
                    <a:pt x="289" y="14"/>
                    <a:pt x="274" y="0"/>
                    <a:pt x="257" y="0"/>
                  </a:cubicBezTo>
                  <a:cubicBezTo>
                    <a:pt x="257" y="0"/>
                    <a:pt x="257" y="0"/>
                    <a:pt x="257" y="0"/>
                  </a:cubicBezTo>
                  <a:cubicBezTo>
                    <a:pt x="114" y="1"/>
                    <a:pt x="0" y="118"/>
                    <a:pt x="1" y="260"/>
                  </a:cubicBezTo>
                  <a:close/>
                  <a:moveTo>
                    <a:pt x="1" y="260"/>
                  </a:moveTo>
                  <a:cubicBezTo>
                    <a:pt x="1" y="260"/>
                    <a:pt x="1" y="260"/>
                    <a:pt x="1" y="26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5" name="Freeform 8">
              <a:extLst>
                <a:ext uri="{FF2B5EF4-FFF2-40B4-BE49-F238E27FC236}">
                  <a16:creationId xmlns:a16="http://schemas.microsoft.com/office/drawing/2014/main" id="{01C01640-3127-174B-86CA-6BB40CCD8112}"/>
                </a:ext>
              </a:extLst>
            </p:cNvPr>
            <p:cNvSpPr>
              <a:spLocks noEditPoints="1"/>
            </p:cNvSpPr>
            <p:nvPr/>
          </p:nvSpPr>
          <p:spPr bwMode="auto">
            <a:xfrm>
              <a:off x="6986588" y="620713"/>
              <a:ext cx="519113" cy="519112"/>
            </a:xfrm>
            <a:custGeom>
              <a:avLst/>
              <a:gdLst>
                <a:gd name="T0" fmla="*/ 365 w 928"/>
                <a:gd name="T1" fmla="*/ 69 h 928"/>
                <a:gd name="T2" fmla="*/ 255 w 928"/>
                <a:gd name="T3" fmla="*/ 115 h 928"/>
                <a:gd name="T4" fmla="*/ 115 w 928"/>
                <a:gd name="T5" fmla="*/ 158 h 928"/>
                <a:gd name="T6" fmla="*/ 137 w 928"/>
                <a:gd name="T7" fmla="*/ 277 h 928"/>
                <a:gd name="T8" fmla="*/ 0 w 928"/>
                <a:gd name="T9" fmla="*/ 433 h 928"/>
                <a:gd name="T10" fmla="*/ 101 w 928"/>
                <a:gd name="T11" fmla="*/ 564 h 928"/>
                <a:gd name="T12" fmla="*/ 95 w 928"/>
                <a:gd name="T13" fmla="*/ 722 h 928"/>
                <a:gd name="T14" fmla="*/ 207 w 928"/>
                <a:gd name="T15" fmla="*/ 834 h 928"/>
                <a:gd name="T16" fmla="*/ 365 w 928"/>
                <a:gd name="T17" fmla="*/ 828 h 928"/>
                <a:gd name="T18" fmla="*/ 495 w 928"/>
                <a:gd name="T19" fmla="*/ 928 h 928"/>
                <a:gd name="T20" fmla="*/ 651 w 928"/>
                <a:gd name="T21" fmla="*/ 791 h 928"/>
                <a:gd name="T22" fmla="*/ 770 w 928"/>
                <a:gd name="T23" fmla="*/ 814 h 928"/>
                <a:gd name="T24" fmla="*/ 792 w 928"/>
                <a:gd name="T25" fmla="*/ 651 h 928"/>
                <a:gd name="T26" fmla="*/ 928 w 928"/>
                <a:gd name="T27" fmla="*/ 495 h 928"/>
                <a:gd name="T28" fmla="*/ 828 w 928"/>
                <a:gd name="T29" fmla="*/ 365 h 928"/>
                <a:gd name="T30" fmla="*/ 814 w 928"/>
                <a:gd name="T31" fmla="*/ 158 h 928"/>
                <a:gd name="T32" fmla="*/ 674 w 928"/>
                <a:gd name="T33" fmla="*/ 115 h 928"/>
                <a:gd name="T34" fmla="*/ 564 w 928"/>
                <a:gd name="T35" fmla="*/ 69 h 928"/>
                <a:gd name="T36" fmla="*/ 656 w 928"/>
                <a:gd name="T37" fmla="*/ 209 h 928"/>
                <a:gd name="T38" fmla="*/ 722 w 928"/>
                <a:gd name="T39" fmla="*/ 158 h 928"/>
                <a:gd name="T40" fmla="*/ 769 w 928"/>
                <a:gd name="T41" fmla="*/ 210 h 928"/>
                <a:gd name="T42" fmla="*/ 772 w 928"/>
                <a:gd name="T43" fmla="*/ 403 h 928"/>
                <a:gd name="T44" fmla="*/ 864 w 928"/>
                <a:gd name="T45" fmla="*/ 433 h 928"/>
                <a:gd name="T46" fmla="*/ 803 w 928"/>
                <a:gd name="T47" fmla="*/ 500 h 928"/>
                <a:gd name="T48" fmla="*/ 729 w 928"/>
                <a:gd name="T49" fmla="*/ 679 h 928"/>
                <a:gd name="T50" fmla="*/ 725 w 928"/>
                <a:gd name="T51" fmla="*/ 769 h 928"/>
                <a:gd name="T52" fmla="*/ 678 w 928"/>
                <a:gd name="T53" fmla="*/ 728 h 928"/>
                <a:gd name="T54" fmla="*/ 500 w 928"/>
                <a:gd name="T55" fmla="*/ 802 h 928"/>
                <a:gd name="T56" fmla="*/ 433 w 928"/>
                <a:gd name="T57" fmla="*/ 864 h 928"/>
                <a:gd name="T58" fmla="*/ 402 w 928"/>
                <a:gd name="T59" fmla="*/ 771 h 928"/>
                <a:gd name="T60" fmla="*/ 210 w 928"/>
                <a:gd name="T61" fmla="*/ 768 h 928"/>
                <a:gd name="T62" fmla="*/ 159 w 928"/>
                <a:gd name="T63" fmla="*/ 725 h 928"/>
                <a:gd name="T64" fmla="*/ 199 w 928"/>
                <a:gd name="T65" fmla="*/ 678 h 928"/>
                <a:gd name="T66" fmla="*/ 125 w 928"/>
                <a:gd name="T67" fmla="*/ 500 h 928"/>
                <a:gd name="T68" fmla="*/ 64 w 928"/>
                <a:gd name="T69" fmla="*/ 433 h 928"/>
                <a:gd name="T70" fmla="*/ 156 w 928"/>
                <a:gd name="T71" fmla="*/ 402 h 928"/>
                <a:gd name="T72" fmla="*/ 159 w 928"/>
                <a:gd name="T73" fmla="*/ 209 h 928"/>
                <a:gd name="T74" fmla="*/ 203 w 928"/>
                <a:gd name="T75" fmla="*/ 159 h 928"/>
                <a:gd name="T76" fmla="*/ 250 w 928"/>
                <a:gd name="T77" fmla="*/ 199 h 928"/>
                <a:gd name="T78" fmla="*/ 428 w 928"/>
                <a:gd name="T79" fmla="*/ 125 h 928"/>
                <a:gd name="T80" fmla="*/ 495 w 928"/>
                <a:gd name="T81" fmla="*/ 64 h 928"/>
                <a:gd name="T82" fmla="*/ 526 w 928"/>
                <a:gd name="T83" fmla="*/ 157 h 928"/>
                <a:gd name="T84" fmla="*/ 638 w 928"/>
                <a:gd name="T85" fmla="*/ 203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28" h="928">
                  <a:moveTo>
                    <a:pt x="495" y="0"/>
                  </a:moveTo>
                  <a:cubicBezTo>
                    <a:pt x="433" y="0"/>
                    <a:pt x="433" y="0"/>
                    <a:pt x="433" y="0"/>
                  </a:cubicBezTo>
                  <a:cubicBezTo>
                    <a:pt x="396" y="0"/>
                    <a:pt x="365" y="31"/>
                    <a:pt x="365" y="69"/>
                  </a:cubicBezTo>
                  <a:cubicBezTo>
                    <a:pt x="365" y="101"/>
                    <a:pt x="365" y="101"/>
                    <a:pt x="365" y="101"/>
                  </a:cubicBezTo>
                  <a:cubicBezTo>
                    <a:pt x="334" y="109"/>
                    <a:pt x="305" y="121"/>
                    <a:pt x="277" y="137"/>
                  </a:cubicBezTo>
                  <a:cubicBezTo>
                    <a:pt x="255" y="115"/>
                    <a:pt x="255" y="115"/>
                    <a:pt x="255" y="115"/>
                  </a:cubicBezTo>
                  <a:cubicBezTo>
                    <a:pt x="242" y="102"/>
                    <a:pt x="225" y="95"/>
                    <a:pt x="207" y="95"/>
                  </a:cubicBezTo>
                  <a:cubicBezTo>
                    <a:pt x="188" y="95"/>
                    <a:pt x="171" y="102"/>
                    <a:pt x="158" y="115"/>
                  </a:cubicBezTo>
                  <a:cubicBezTo>
                    <a:pt x="115" y="158"/>
                    <a:pt x="115" y="158"/>
                    <a:pt x="115" y="158"/>
                  </a:cubicBezTo>
                  <a:cubicBezTo>
                    <a:pt x="102" y="171"/>
                    <a:pt x="95" y="188"/>
                    <a:pt x="95" y="207"/>
                  </a:cubicBezTo>
                  <a:cubicBezTo>
                    <a:pt x="95" y="225"/>
                    <a:pt x="102" y="242"/>
                    <a:pt x="115" y="255"/>
                  </a:cubicBezTo>
                  <a:cubicBezTo>
                    <a:pt x="137" y="277"/>
                    <a:pt x="137" y="277"/>
                    <a:pt x="137" y="277"/>
                  </a:cubicBezTo>
                  <a:cubicBezTo>
                    <a:pt x="121" y="305"/>
                    <a:pt x="109" y="334"/>
                    <a:pt x="101" y="365"/>
                  </a:cubicBezTo>
                  <a:cubicBezTo>
                    <a:pt x="69" y="365"/>
                    <a:pt x="69" y="365"/>
                    <a:pt x="69" y="365"/>
                  </a:cubicBezTo>
                  <a:cubicBezTo>
                    <a:pt x="31" y="365"/>
                    <a:pt x="0" y="396"/>
                    <a:pt x="0" y="433"/>
                  </a:cubicBezTo>
                  <a:cubicBezTo>
                    <a:pt x="0" y="495"/>
                    <a:pt x="0" y="495"/>
                    <a:pt x="0" y="495"/>
                  </a:cubicBezTo>
                  <a:cubicBezTo>
                    <a:pt x="0" y="533"/>
                    <a:pt x="31" y="564"/>
                    <a:pt x="69" y="564"/>
                  </a:cubicBezTo>
                  <a:cubicBezTo>
                    <a:pt x="101" y="564"/>
                    <a:pt x="101" y="564"/>
                    <a:pt x="101" y="564"/>
                  </a:cubicBezTo>
                  <a:cubicBezTo>
                    <a:pt x="109" y="594"/>
                    <a:pt x="121" y="624"/>
                    <a:pt x="137" y="651"/>
                  </a:cubicBezTo>
                  <a:cubicBezTo>
                    <a:pt x="115" y="674"/>
                    <a:pt x="115" y="674"/>
                    <a:pt x="115" y="674"/>
                  </a:cubicBezTo>
                  <a:cubicBezTo>
                    <a:pt x="102" y="687"/>
                    <a:pt x="95" y="704"/>
                    <a:pt x="95" y="722"/>
                  </a:cubicBezTo>
                  <a:cubicBezTo>
                    <a:pt x="95" y="740"/>
                    <a:pt x="102" y="758"/>
                    <a:pt x="115" y="770"/>
                  </a:cubicBezTo>
                  <a:cubicBezTo>
                    <a:pt x="158" y="814"/>
                    <a:pt x="158" y="814"/>
                    <a:pt x="158" y="814"/>
                  </a:cubicBezTo>
                  <a:cubicBezTo>
                    <a:pt x="171" y="827"/>
                    <a:pt x="188" y="834"/>
                    <a:pt x="207" y="834"/>
                  </a:cubicBezTo>
                  <a:cubicBezTo>
                    <a:pt x="225" y="834"/>
                    <a:pt x="242" y="827"/>
                    <a:pt x="255" y="814"/>
                  </a:cubicBezTo>
                  <a:cubicBezTo>
                    <a:pt x="277" y="791"/>
                    <a:pt x="277" y="791"/>
                    <a:pt x="277" y="791"/>
                  </a:cubicBezTo>
                  <a:cubicBezTo>
                    <a:pt x="305" y="807"/>
                    <a:pt x="334" y="820"/>
                    <a:pt x="365" y="828"/>
                  </a:cubicBezTo>
                  <a:cubicBezTo>
                    <a:pt x="365" y="860"/>
                    <a:pt x="365" y="860"/>
                    <a:pt x="365" y="860"/>
                  </a:cubicBezTo>
                  <a:cubicBezTo>
                    <a:pt x="365" y="897"/>
                    <a:pt x="396" y="928"/>
                    <a:pt x="433" y="928"/>
                  </a:cubicBezTo>
                  <a:cubicBezTo>
                    <a:pt x="495" y="928"/>
                    <a:pt x="495" y="928"/>
                    <a:pt x="495" y="928"/>
                  </a:cubicBezTo>
                  <a:cubicBezTo>
                    <a:pt x="533" y="928"/>
                    <a:pt x="564" y="897"/>
                    <a:pt x="564" y="860"/>
                  </a:cubicBezTo>
                  <a:cubicBezTo>
                    <a:pt x="564" y="828"/>
                    <a:pt x="564" y="828"/>
                    <a:pt x="564" y="828"/>
                  </a:cubicBezTo>
                  <a:cubicBezTo>
                    <a:pt x="594" y="820"/>
                    <a:pt x="624" y="807"/>
                    <a:pt x="651" y="791"/>
                  </a:cubicBezTo>
                  <a:cubicBezTo>
                    <a:pt x="674" y="814"/>
                    <a:pt x="674" y="814"/>
                    <a:pt x="674" y="814"/>
                  </a:cubicBezTo>
                  <a:cubicBezTo>
                    <a:pt x="687" y="827"/>
                    <a:pt x="704" y="834"/>
                    <a:pt x="722" y="834"/>
                  </a:cubicBezTo>
                  <a:cubicBezTo>
                    <a:pt x="740" y="834"/>
                    <a:pt x="758" y="827"/>
                    <a:pt x="770" y="814"/>
                  </a:cubicBezTo>
                  <a:cubicBezTo>
                    <a:pt x="814" y="770"/>
                    <a:pt x="814" y="770"/>
                    <a:pt x="814" y="770"/>
                  </a:cubicBezTo>
                  <a:cubicBezTo>
                    <a:pt x="840" y="744"/>
                    <a:pt x="840" y="700"/>
                    <a:pt x="814" y="674"/>
                  </a:cubicBezTo>
                  <a:cubicBezTo>
                    <a:pt x="792" y="651"/>
                    <a:pt x="792" y="651"/>
                    <a:pt x="792" y="651"/>
                  </a:cubicBezTo>
                  <a:cubicBezTo>
                    <a:pt x="808" y="624"/>
                    <a:pt x="820" y="594"/>
                    <a:pt x="828" y="564"/>
                  </a:cubicBezTo>
                  <a:cubicBezTo>
                    <a:pt x="860" y="564"/>
                    <a:pt x="860" y="564"/>
                    <a:pt x="860" y="564"/>
                  </a:cubicBezTo>
                  <a:cubicBezTo>
                    <a:pt x="897" y="564"/>
                    <a:pt x="928" y="533"/>
                    <a:pt x="928" y="495"/>
                  </a:cubicBezTo>
                  <a:cubicBezTo>
                    <a:pt x="928" y="433"/>
                    <a:pt x="928" y="433"/>
                    <a:pt x="928" y="433"/>
                  </a:cubicBezTo>
                  <a:cubicBezTo>
                    <a:pt x="928" y="396"/>
                    <a:pt x="897" y="365"/>
                    <a:pt x="860" y="365"/>
                  </a:cubicBezTo>
                  <a:cubicBezTo>
                    <a:pt x="828" y="365"/>
                    <a:pt x="828" y="365"/>
                    <a:pt x="828" y="365"/>
                  </a:cubicBezTo>
                  <a:cubicBezTo>
                    <a:pt x="820" y="334"/>
                    <a:pt x="808" y="305"/>
                    <a:pt x="792" y="277"/>
                  </a:cubicBezTo>
                  <a:cubicBezTo>
                    <a:pt x="814" y="255"/>
                    <a:pt x="814" y="255"/>
                    <a:pt x="814" y="255"/>
                  </a:cubicBezTo>
                  <a:cubicBezTo>
                    <a:pt x="840" y="228"/>
                    <a:pt x="840" y="185"/>
                    <a:pt x="814" y="158"/>
                  </a:cubicBezTo>
                  <a:cubicBezTo>
                    <a:pt x="770" y="115"/>
                    <a:pt x="770" y="115"/>
                    <a:pt x="770" y="115"/>
                  </a:cubicBezTo>
                  <a:cubicBezTo>
                    <a:pt x="758" y="102"/>
                    <a:pt x="740" y="95"/>
                    <a:pt x="722" y="95"/>
                  </a:cubicBezTo>
                  <a:cubicBezTo>
                    <a:pt x="704" y="95"/>
                    <a:pt x="687" y="102"/>
                    <a:pt x="674" y="115"/>
                  </a:cubicBezTo>
                  <a:cubicBezTo>
                    <a:pt x="651" y="137"/>
                    <a:pt x="651" y="137"/>
                    <a:pt x="651" y="137"/>
                  </a:cubicBezTo>
                  <a:cubicBezTo>
                    <a:pt x="624" y="121"/>
                    <a:pt x="594" y="109"/>
                    <a:pt x="564" y="101"/>
                  </a:cubicBezTo>
                  <a:cubicBezTo>
                    <a:pt x="564" y="69"/>
                    <a:pt x="564" y="69"/>
                    <a:pt x="564" y="69"/>
                  </a:cubicBezTo>
                  <a:cubicBezTo>
                    <a:pt x="563" y="31"/>
                    <a:pt x="533" y="0"/>
                    <a:pt x="495" y="0"/>
                  </a:cubicBezTo>
                  <a:close/>
                  <a:moveTo>
                    <a:pt x="638" y="203"/>
                  </a:moveTo>
                  <a:cubicBezTo>
                    <a:pt x="644" y="207"/>
                    <a:pt x="650" y="209"/>
                    <a:pt x="656" y="209"/>
                  </a:cubicBezTo>
                  <a:cubicBezTo>
                    <a:pt x="664" y="209"/>
                    <a:pt x="672" y="206"/>
                    <a:pt x="678" y="199"/>
                  </a:cubicBezTo>
                  <a:cubicBezTo>
                    <a:pt x="718" y="159"/>
                    <a:pt x="718" y="159"/>
                    <a:pt x="718" y="159"/>
                  </a:cubicBezTo>
                  <a:cubicBezTo>
                    <a:pt x="720" y="158"/>
                    <a:pt x="721" y="158"/>
                    <a:pt x="722" y="158"/>
                  </a:cubicBezTo>
                  <a:cubicBezTo>
                    <a:pt x="723" y="158"/>
                    <a:pt x="724" y="158"/>
                    <a:pt x="725" y="159"/>
                  </a:cubicBezTo>
                  <a:cubicBezTo>
                    <a:pt x="769" y="203"/>
                    <a:pt x="769" y="203"/>
                    <a:pt x="769" y="203"/>
                  </a:cubicBezTo>
                  <a:cubicBezTo>
                    <a:pt x="771" y="205"/>
                    <a:pt x="771" y="208"/>
                    <a:pt x="769" y="210"/>
                  </a:cubicBezTo>
                  <a:cubicBezTo>
                    <a:pt x="729" y="250"/>
                    <a:pt x="729" y="250"/>
                    <a:pt x="729" y="250"/>
                  </a:cubicBezTo>
                  <a:cubicBezTo>
                    <a:pt x="718" y="261"/>
                    <a:pt x="716" y="278"/>
                    <a:pt x="725" y="290"/>
                  </a:cubicBezTo>
                  <a:cubicBezTo>
                    <a:pt x="748" y="324"/>
                    <a:pt x="764" y="362"/>
                    <a:pt x="772" y="403"/>
                  </a:cubicBezTo>
                  <a:cubicBezTo>
                    <a:pt x="775" y="417"/>
                    <a:pt x="788" y="428"/>
                    <a:pt x="803" y="428"/>
                  </a:cubicBezTo>
                  <a:cubicBezTo>
                    <a:pt x="859" y="428"/>
                    <a:pt x="859" y="428"/>
                    <a:pt x="859" y="428"/>
                  </a:cubicBezTo>
                  <a:cubicBezTo>
                    <a:pt x="862" y="428"/>
                    <a:pt x="864" y="431"/>
                    <a:pt x="864" y="433"/>
                  </a:cubicBezTo>
                  <a:cubicBezTo>
                    <a:pt x="864" y="495"/>
                    <a:pt x="864" y="495"/>
                    <a:pt x="864" y="495"/>
                  </a:cubicBezTo>
                  <a:cubicBezTo>
                    <a:pt x="864" y="498"/>
                    <a:pt x="862" y="500"/>
                    <a:pt x="859" y="500"/>
                  </a:cubicBezTo>
                  <a:cubicBezTo>
                    <a:pt x="803" y="500"/>
                    <a:pt x="803" y="500"/>
                    <a:pt x="803" y="500"/>
                  </a:cubicBezTo>
                  <a:cubicBezTo>
                    <a:pt x="788" y="500"/>
                    <a:pt x="775" y="511"/>
                    <a:pt x="772" y="526"/>
                  </a:cubicBezTo>
                  <a:cubicBezTo>
                    <a:pt x="764" y="566"/>
                    <a:pt x="748" y="604"/>
                    <a:pt x="725" y="639"/>
                  </a:cubicBezTo>
                  <a:cubicBezTo>
                    <a:pt x="717" y="651"/>
                    <a:pt x="718" y="668"/>
                    <a:pt x="729" y="679"/>
                  </a:cubicBezTo>
                  <a:cubicBezTo>
                    <a:pt x="769" y="719"/>
                    <a:pt x="769" y="719"/>
                    <a:pt x="769" y="719"/>
                  </a:cubicBezTo>
                  <a:cubicBezTo>
                    <a:pt x="771" y="720"/>
                    <a:pt x="771" y="724"/>
                    <a:pt x="769" y="726"/>
                  </a:cubicBezTo>
                  <a:cubicBezTo>
                    <a:pt x="725" y="769"/>
                    <a:pt x="725" y="769"/>
                    <a:pt x="725" y="769"/>
                  </a:cubicBezTo>
                  <a:cubicBezTo>
                    <a:pt x="724" y="770"/>
                    <a:pt x="723" y="771"/>
                    <a:pt x="722" y="771"/>
                  </a:cubicBezTo>
                  <a:cubicBezTo>
                    <a:pt x="721" y="771"/>
                    <a:pt x="720" y="770"/>
                    <a:pt x="718" y="769"/>
                  </a:cubicBezTo>
                  <a:cubicBezTo>
                    <a:pt x="678" y="728"/>
                    <a:pt x="678" y="728"/>
                    <a:pt x="678" y="728"/>
                  </a:cubicBezTo>
                  <a:cubicBezTo>
                    <a:pt x="668" y="718"/>
                    <a:pt x="651" y="716"/>
                    <a:pt x="638" y="725"/>
                  </a:cubicBezTo>
                  <a:cubicBezTo>
                    <a:pt x="604" y="748"/>
                    <a:pt x="566" y="763"/>
                    <a:pt x="526" y="771"/>
                  </a:cubicBezTo>
                  <a:cubicBezTo>
                    <a:pt x="511" y="774"/>
                    <a:pt x="500" y="787"/>
                    <a:pt x="500" y="802"/>
                  </a:cubicBezTo>
                  <a:cubicBezTo>
                    <a:pt x="500" y="859"/>
                    <a:pt x="500" y="859"/>
                    <a:pt x="500" y="859"/>
                  </a:cubicBezTo>
                  <a:cubicBezTo>
                    <a:pt x="500" y="862"/>
                    <a:pt x="498" y="864"/>
                    <a:pt x="495" y="864"/>
                  </a:cubicBezTo>
                  <a:cubicBezTo>
                    <a:pt x="433" y="864"/>
                    <a:pt x="433" y="864"/>
                    <a:pt x="433" y="864"/>
                  </a:cubicBezTo>
                  <a:cubicBezTo>
                    <a:pt x="430" y="864"/>
                    <a:pt x="428" y="862"/>
                    <a:pt x="428" y="859"/>
                  </a:cubicBezTo>
                  <a:cubicBezTo>
                    <a:pt x="428" y="802"/>
                    <a:pt x="428" y="802"/>
                    <a:pt x="428" y="802"/>
                  </a:cubicBezTo>
                  <a:cubicBezTo>
                    <a:pt x="428" y="787"/>
                    <a:pt x="417" y="774"/>
                    <a:pt x="402" y="771"/>
                  </a:cubicBezTo>
                  <a:cubicBezTo>
                    <a:pt x="362" y="763"/>
                    <a:pt x="324" y="748"/>
                    <a:pt x="290" y="725"/>
                  </a:cubicBezTo>
                  <a:cubicBezTo>
                    <a:pt x="277" y="716"/>
                    <a:pt x="260" y="718"/>
                    <a:pt x="250" y="728"/>
                  </a:cubicBezTo>
                  <a:cubicBezTo>
                    <a:pt x="210" y="768"/>
                    <a:pt x="210" y="768"/>
                    <a:pt x="210" y="768"/>
                  </a:cubicBezTo>
                  <a:cubicBezTo>
                    <a:pt x="208" y="770"/>
                    <a:pt x="207" y="770"/>
                    <a:pt x="206" y="770"/>
                  </a:cubicBezTo>
                  <a:cubicBezTo>
                    <a:pt x="205" y="770"/>
                    <a:pt x="204" y="770"/>
                    <a:pt x="203" y="768"/>
                  </a:cubicBezTo>
                  <a:cubicBezTo>
                    <a:pt x="159" y="725"/>
                    <a:pt x="159" y="725"/>
                    <a:pt x="159" y="725"/>
                  </a:cubicBezTo>
                  <a:cubicBezTo>
                    <a:pt x="158" y="724"/>
                    <a:pt x="158" y="722"/>
                    <a:pt x="158" y="721"/>
                  </a:cubicBezTo>
                  <a:cubicBezTo>
                    <a:pt x="158" y="720"/>
                    <a:pt x="158" y="719"/>
                    <a:pt x="159" y="718"/>
                  </a:cubicBezTo>
                  <a:cubicBezTo>
                    <a:pt x="199" y="678"/>
                    <a:pt x="199" y="678"/>
                    <a:pt x="199" y="678"/>
                  </a:cubicBezTo>
                  <a:cubicBezTo>
                    <a:pt x="210" y="667"/>
                    <a:pt x="212" y="650"/>
                    <a:pt x="203" y="638"/>
                  </a:cubicBezTo>
                  <a:cubicBezTo>
                    <a:pt x="180" y="604"/>
                    <a:pt x="164" y="566"/>
                    <a:pt x="156" y="525"/>
                  </a:cubicBezTo>
                  <a:cubicBezTo>
                    <a:pt x="153" y="511"/>
                    <a:pt x="140" y="500"/>
                    <a:pt x="125" y="500"/>
                  </a:cubicBezTo>
                  <a:cubicBezTo>
                    <a:pt x="69" y="500"/>
                    <a:pt x="69" y="500"/>
                    <a:pt x="69" y="500"/>
                  </a:cubicBezTo>
                  <a:cubicBezTo>
                    <a:pt x="66" y="500"/>
                    <a:pt x="64" y="497"/>
                    <a:pt x="64" y="495"/>
                  </a:cubicBezTo>
                  <a:cubicBezTo>
                    <a:pt x="64" y="433"/>
                    <a:pt x="64" y="433"/>
                    <a:pt x="64" y="433"/>
                  </a:cubicBezTo>
                  <a:cubicBezTo>
                    <a:pt x="64" y="430"/>
                    <a:pt x="66" y="428"/>
                    <a:pt x="69" y="428"/>
                  </a:cubicBezTo>
                  <a:cubicBezTo>
                    <a:pt x="125" y="428"/>
                    <a:pt x="125" y="428"/>
                    <a:pt x="125" y="428"/>
                  </a:cubicBezTo>
                  <a:cubicBezTo>
                    <a:pt x="140" y="428"/>
                    <a:pt x="153" y="417"/>
                    <a:pt x="156" y="402"/>
                  </a:cubicBezTo>
                  <a:cubicBezTo>
                    <a:pt x="164" y="362"/>
                    <a:pt x="180" y="324"/>
                    <a:pt x="203" y="289"/>
                  </a:cubicBezTo>
                  <a:cubicBezTo>
                    <a:pt x="211" y="277"/>
                    <a:pt x="210" y="260"/>
                    <a:pt x="199" y="249"/>
                  </a:cubicBezTo>
                  <a:cubicBezTo>
                    <a:pt x="159" y="209"/>
                    <a:pt x="159" y="209"/>
                    <a:pt x="159" y="209"/>
                  </a:cubicBezTo>
                  <a:cubicBezTo>
                    <a:pt x="158" y="208"/>
                    <a:pt x="158" y="207"/>
                    <a:pt x="158" y="206"/>
                  </a:cubicBezTo>
                  <a:cubicBezTo>
                    <a:pt x="158" y="205"/>
                    <a:pt x="158" y="204"/>
                    <a:pt x="159" y="202"/>
                  </a:cubicBezTo>
                  <a:cubicBezTo>
                    <a:pt x="203" y="159"/>
                    <a:pt x="203" y="159"/>
                    <a:pt x="203" y="159"/>
                  </a:cubicBezTo>
                  <a:cubicBezTo>
                    <a:pt x="204" y="158"/>
                    <a:pt x="205" y="157"/>
                    <a:pt x="206" y="157"/>
                  </a:cubicBezTo>
                  <a:cubicBezTo>
                    <a:pt x="207" y="157"/>
                    <a:pt x="208" y="158"/>
                    <a:pt x="210" y="159"/>
                  </a:cubicBezTo>
                  <a:cubicBezTo>
                    <a:pt x="250" y="199"/>
                    <a:pt x="250" y="199"/>
                    <a:pt x="250" y="199"/>
                  </a:cubicBezTo>
                  <a:cubicBezTo>
                    <a:pt x="260" y="209"/>
                    <a:pt x="277" y="211"/>
                    <a:pt x="290" y="203"/>
                  </a:cubicBezTo>
                  <a:cubicBezTo>
                    <a:pt x="324" y="180"/>
                    <a:pt x="362" y="164"/>
                    <a:pt x="402" y="156"/>
                  </a:cubicBezTo>
                  <a:cubicBezTo>
                    <a:pt x="417" y="153"/>
                    <a:pt x="428" y="140"/>
                    <a:pt x="428" y="125"/>
                  </a:cubicBezTo>
                  <a:cubicBezTo>
                    <a:pt x="428" y="69"/>
                    <a:pt x="428" y="69"/>
                    <a:pt x="428" y="69"/>
                  </a:cubicBezTo>
                  <a:cubicBezTo>
                    <a:pt x="428" y="66"/>
                    <a:pt x="430" y="64"/>
                    <a:pt x="433" y="64"/>
                  </a:cubicBezTo>
                  <a:cubicBezTo>
                    <a:pt x="495" y="64"/>
                    <a:pt x="495" y="64"/>
                    <a:pt x="495" y="64"/>
                  </a:cubicBezTo>
                  <a:cubicBezTo>
                    <a:pt x="498" y="64"/>
                    <a:pt x="500" y="66"/>
                    <a:pt x="500" y="69"/>
                  </a:cubicBezTo>
                  <a:cubicBezTo>
                    <a:pt x="500" y="126"/>
                    <a:pt x="500" y="126"/>
                    <a:pt x="500" y="126"/>
                  </a:cubicBezTo>
                  <a:cubicBezTo>
                    <a:pt x="500" y="141"/>
                    <a:pt x="511" y="154"/>
                    <a:pt x="526" y="157"/>
                  </a:cubicBezTo>
                  <a:cubicBezTo>
                    <a:pt x="566" y="165"/>
                    <a:pt x="604" y="180"/>
                    <a:pt x="638" y="203"/>
                  </a:cubicBezTo>
                  <a:close/>
                  <a:moveTo>
                    <a:pt x="638" y="203"/>
                  </a:moveTo>
                  <a:cubicBezTo>
                    <a:pt x="638" y="203"/>
                    <a:pt x="638" y="203"/>
                    <a:pt x="638" y="20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6" name="Freeform 9">
              <a:extLst>
                <a:ext uri="{FF2B5EF4-FFF2-40B4-BE49-F238E27FC236}">
                  <a16:creationId xmlns:a16="http://schemas.microsoft.com/office/drawing/2014/main" id="{0B15F92E-36A9-8B45-B3EA-A3BC879FE873}"/>
                </a:ext>
              </a:extLst>
            </p:cNvPr>
            <p:cNvSpPr>
              <a:spLocks noEditPoints="1"/>
            </p:cNvSpPr>
            <p:nvPr/>
          </p:nvSpPr>
          <p:spPr bwMode="auto">
            <a:xfrm>
              <a:off x="7140575" y="776288"/>
              <a:ext cx="211138" cy="209550"/>
            </a:xfrm>
            <a:custGeom>
              <a:avLst/>
              <a:gdLst>
                <a:gd name="T0" fmla="*/ 0 w 377"/>
                <a:gd name="T1" fmla="*/ 188 h 376"/>
                <a:gd name="T2" fmla="*/ 188 w 377"/>
                <a:gd name="T3" fmla="*/ 376 h 376"/>
                <a:gd name="T4" fmla="*/ 377 w 377"/>
                <a:gd name="T5" fmla="*/ 188 h 376"/>
                <a:gd name="T6" fmla="*/ 188 w 377"/>
                <a:gd name="T7" fmla="*/ 0 h 376"/>
                <a:gd name="T8" fmla="*/ 0 w 377"/>
                <a:gd name="T9" fmla="*/ 188 h 376"/>
                <a:gd name="T10" fmla="*/ 313 w 377"/>
                <a:gd name="T11" fmla="*/ 188 h 376"/>
                <a:gd name="T12" fmla="*/ 188 w 377"/>
                <a:gd name="T13" fmla="*/ 313 h 376"/>
                <a:gd name="T14" fmla="*/ 63 w 377"/>
                <a:gd name="T15" fmla="*/ 188 h 376"/>
                <a:gd name="T16" fmla="*/ 188 w 377"/>
                <a:gd name="T17" fmla="*/ 63 h 376"/>
                <a:gd name="T18" fmla="*/ 313 w 377"/>
                <a:gd name="T19" fmla="*/ 188 h 376"/>
                <a:gd name="T20" fmla="*/ 313 w 377"/>
                <a:gd name="T21" fmla="*/ 188 h 376"/>
                <a:gd name="T22" fmla="*/ 313 w 377"/>
                <a:gd name="T23" fmla="*/ 188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7" h="376">
                  <a:moveTo>
                    <a:pt x="0" y="188"/>
                  </a:moveTo>
                  <a:cubicBezTo>
                    <a:pt x="0" y="291"/>
                    <a:pt x="85" y="376"/>
                    <a:pt x="188" y="376"/>
                  </a:cubicBezTo>
                  <a:cubicBezTo>
                    <a:pt x="292" y="376"/>
                    <a:pt x="377" y="291"/>
                    <a:pt x="377" y="188"/>
                  </a:cubicBezTo>
                  <a:cubicBezTo>
                    <a:pt x="377" y="84"/>
                    <a:pt x="292" y="0"/>
                    <a:pt x="188" y="0"/>
                  </a:cubicBezTo>
                  <a:cubicBezTo>
                    <a:pt x="85" y="0"/>
                    <a:pt x="0" y="84"/>
                    <a:pt x="0" y="188"/>
                  </a:cubicBezTo>
                  <a:close/>
                  <a:moveTo>
                    <a:pt x="313" y="188"/>
                  </a:moveTo>
                  <a:cubicBezTo>
                    <a:pt x="313" y="257"/>
                    <a:pt x="257" y="313"/>
                    <a:pt x="188" y="313"/>
                  </a:cubicBezTo>
                  <a:cubicBezTo>
                    <a:pt x="119" y="313"/>
                    <a:pt x="63" y="257"/>
                    <a:pt x="63" y="188"/>
                  </a:cubicBezTo>
                  <a:cubicBezTo>
                    <a:pt x="63" y="119"/>
                    <a:pt x="119" y="63"/>
                    <a:pt x="188" y="63"/>
                  </a:cubicBezTo>
                  <a:cubicBezTo>
                    <a:pt x="257" y="63"/>
                    <a:pt x="313" y="119"/>
                    <a:pt x="313" y="188"/>
                  </a:cubicBezTo>
                  <a:close/>
                  <a:moveTo>
                    <a:pt x="313" y="188"/>
                  </a:moveTo>
                  <a:cubicBezTo>
                    <a:pt x="313" y="188"/>
                    <a:pt x="313" y="188"/>
                    <a:pt x="313" y="18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grpSp>
        <p:nvGrpSpPr>
          <p:cNvPr id="27" name="Group 26">
            <a:extLst>
              <a:ext uri="{FF2B5EF4-FFF2-40B4-BE49-F238E27FC236}">
                <a16:creationId xmlns:a16="http://schemas.microsoft.com/office/drawing/2014/main" id="{1BB09841-A60E-6E46-95BF-6685636BEFCD}"/>
              </a:ext>
            </a:extLst>
          </p:cNvPr>
          <p:cNvGrpSpPr/>
          <p:nvPr userDrawn="1"/>
        </p:nvGrpSpPr>
        <p:grpSpPr>
          <a:xfrm>
            <a:off x="1618388" y="4776839"/>
            <a:ext cx="699946" cy="780642"/>
            <a:chOff x="1625601" y="915988"/>
            <a:chExt cx="1263650" cy="1409700"/>
          </a:xfrm>
        </p:grpSpPr>
        <p:sp>
          <p:nvSpPr>
            <p:cNvPr id="28" name="Freeform 17">
              <a:extLst>
                <a:ext uri="{FF2B5EF4-FFF2-40B4-BE49-F238E27FC236}">
                  <a16:creationId xmlns:a16="http://schemas.microsoft.com/office/drawing/2014/main" id="{F647456E-4AC7-EA4A-A462-C6C50A217474}"/>
                </a:ext>
              </a:extLst>
            </p:cNvPr>
            <p:cNvSpPr>
              <a:spLocks noEditPoints="1"/>
            </p:cNvSpPr>
            <p:nvPr/>
          </p:nvSpPr>
          <p:spPr bwMode="auto">
            <a:xfrm>
              <a:off x="2147888" y="941388"/>
              <a:ext cx="217488" cy="219075"/>
            </a:xfrm>
            <a:custGeom>
              <a:avLst/>
              <a:gdLst>
                <a:gd name="T0" fmla="*/ 242 w 242"/>
                <a:gd name="T1" fmla="*/ 121 h 242"/>
                <a:gd name="T2" fmla="*/ 121 w 242"/>
                <a:gd name="T3" fmla="*/ 242 h 242"/>
                <a:gd name="T4" fmla="*/ 0 w 242"/>
                <a:gd name="T5" fmla="*/ 121 h 242"/>
                <a:gd name="T6" fmla="*/ 121 w 242"/>
                <a:gd name="T7" fmla="*/ 0 h 242"/>
                <a:gd name="T8" fmla="*/ 242 w 242"/>
                <a:gd name="T9" fmla="*/ 121 h 242"/>
                <a:gd name="T10" fmla="*/ 242 w 242"/>
                <a:gd name="T11" fmla="*/ 121 h 242"/>
                <a:gd name="T12" fmla="*/ 242 w 242"/>
                <a:gd name="T13" fmla="*/ 121 h 242"/>
              </a:gdLst>
              <a:ahLst/>
              <a:cxnLst>
                <a:cxn ang="0">
                  <a:pos x="T0" y="T1"/>
                </a:cxn>
                <a:cxn ang="0">
                  <a:pos x="T2" y="T3"/>
                </a:cxn>
                <a:cxn ang="0">
                  <a:pos x="T4" y="T5"/>
                </a:cxn>
                <a:cxn ang="0">
                  <a:pos x="T6" y="T7"/>
                </a:cxn>
                <a:cxn ang="0">
                  <a:pos x="T8" y="T9"/>
                </a:cxn>
                <a:cxn ang="0">
                  <a:pos x="T10" y="T11"/>
                </a:cxn>
                <a:cxn ang="0">
                  <a:pos x="T12" y="T13"/>
                </a:cxn>
              </a:cxnLst>
              <a:rect l="0" t="0" r="r" b="b"/>
              <a:pathLst>
                <a:path w="242" h="242">
                  <a:moveTo>
                    <a:pt x="242" y="121"/>
                  </a:moveTo>
                  <a:cubicBezTo>
                    <a:pt x="242" y="188"/>
                    <a:pt x="188" y="242"/>
                    <a:pt x="121" y="242"/>
                  </a:cubicBezTo>
                  <a:cubicBezTo>
                    <a:pt x="54" y="242"/>
                    <a:pt x="0" y="188"/>
                    <a:pt x="0" y="121"/>
                  </a:cubicBezTo>
                  <a:cubicBezTo>
                    <a:pt x="0" y="54"/>
                    <a:pt x="54" y="0"/>
                    <a:pt x="121" y="0"/>
                  </a:cubicBezTo>
                  <a:cubicBezTo>
                    <a:pt x="188" y="0"/>
                    <a:pt x="242" y="54"/>
                    <a:pt x="242" y="121"/>
                  </a:cubicBezTo>
                  <a:close/>
                  <a:moveTo>
                    <a:pt x="242" y="121"/>
                  </a:moveTo>
                  <a:cubicBezTo>
                    <a:pt x="242" y="121"/>
                    <a:pt x="242" y="121"/>
                    <a:pt x="242" y="121"/>
                  </a:cubicBezTo>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9" name="Freeform 18">
              <a:extLst>
                <a:ext uri="{FF2B5EF4-FFF2-40B4-BE49-F238E27FC236}">
                  <a16:creationId xmlns:a16="http://schemas.microsoft.com/office/drawing/2014/main" id="{89BC514F-D3A3-CD49-9F47-9664D5A0E424}"/>
                </a:ext>
              </a:extLst>
            </p:cNvPr>
            <p:cNvSpPr>
              <a:spLocks noEditPoints="1"/>
            </p:cNvSpPr>
            <p:nvPr/>
          </p:nvSpPr>
          <p:spPr bwMode="auto">
            <a:xfrm>
              <a:off x="2644776" y="1795463"/>
              <a:ext cx="217488" cy="217487"/>
            </a:xfrm>
            <a:custGeom>
              <a:avLst/>
              <a:gdLst>
                <a:gd name="T0" fmla="*/ 242 w 242"/>
                <a:gd name="T1" fmla="*/ 121 h 242"/>
                <a:gd name="T2" fmla="*/ 121 w 242"/>
                <a:gd name="T3" fmla="*/ 242 h 242"/>
                <a:gd name="T4" fmla="*/ 0 w 242"/>
                <a:gd name="T5" fmla="*/ 121 h 242"/>
                <a:gd name="T6" fmla="*/ 121 w 242"/>
                <a:gd name="T7" fmla="*/ 0 h 242"/>
                <a:gd name="T8" fmla="*/ 242 w 242"/>
                <a:gd name="T9" fmla="*/ 121 h 242"/>
                <a:gd name="T10" fmla="*/ 242 w 242"/>
                <a:gd name="T11" fmla="*/ 121 h 242"/>
                <a:gd name="T12" fmla="*/ 242 w 242"/>
                <a:gd name="T13" fmla="*/ 121 h 242"/>
              </a:gdLst>
              <a:ahLst/>
              <a:cxnLst>
                <a:cxn ang="0">
                  <a:pos x="T0" y="T1"/>
                </a:cxn>
                <a:cxn ang="0">
                  <a:pos x="T2" y="T3"/>
                </a:cxn>
                <a:cxn ang="0">
                  <a:pos x="T4" y="T5"/>
                </a:cxn>
                <a:cxn ang="0">
                  <a:pos x="T6" y="T7"/>
                </a:cxn>
                <a:cxn ang="0">
                  <a:pos x="T8" y="T9"/>
                </a:cxn>
                <a:cxn ang="0">
                  <a:pos x="T10" y="T11"/>
                </a:cxn>
                <a:cxn ang="0">
                  <a:pos x="T12" y="T13"/>
                </a:cxn>
              </a:cxnLst>
              <a:rect l="0" t="0" r="r" b="b"/>
              <a:pathLst>
                <a:path w="242" h="242">
                  <a:moveTo>
                    <a:pt x="242" y="121"/>
                  </a:moveTo>
                  <a:cubicBezTo>
                    <a:pt x="242" y="188"/>
                    <a:pt x="188" y="242"/>
                    <a:pt x="121" y="242"/>
                  </a:cubicBezTo>
                  <a:cubicBezTo>
                    <a:pt x="54" y="242"/>
                    <a:pt x="0" y="188"/>
                    <a:pt x="0" y="121"/>
                  </a:cubicBezTo>
                  <a:cubicBezTo>
                    <a:pt x="0" y="54"/>
                    <a:pt x="54" y="0"/>
                    <a:pt x="121" y="0"/>
                  </a:cubicBezTo>
                  <a:cubicBezTo>
                    <a:pt x="188" y="0"/>
                    <a:pt x="242" y="54"/>
                    <a:pt x="242" y="121"/>
                  </a:cubicBezTo>
                  <a:close/>
                  <a:moveTo>
                    <a:pt x="242" y="121"/>
                  </a:moveTo>
                  <a:cubicBezTo>
                    <a:pt x="242" y="121"/>
                    <a:pt x="242" y="121"/>
                    <a:pt x="242" y="121"/>
                  </a:cubicBezTo>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0" name="Freeform 19">
              <a:extLst>
                <a:ext uri="{FF2B5EF4-FFF2-40B4-BE49-F238E27FC236}">
                  <a16:creationId xmlns:a16="http://schemas.microsoft.com/office/drawing/2014/main" id="{ABF4CFBC-A2AB-FE48-B9FA-50A28BFB05F2}"/>
                </a:ext>
              </a:extLst>
            </p:cNvPr>
            <p:cNvSpPr>
              <a:spLocks noEditPoints="1"/>
            </p:cNvSpPr>
            <p:nvPr/>
          </p:nvSpPr>
          <p:spPr bwMode="auto">
            <a:xfrm>
              <a:off x="1651001" y="1795463"/>
              <a:ext cx="217488" cy="217487"/>
            </a:xfrm>
            <a:custGeom>
              <a:avLst/>
              <a:gdLst>
                <a:gd name="T0" fmla="*/ 242 w 242"/>
                <a:gd name="T1" fmla="*/ 121 h 242"/>
                <a:gd name="T2" fmla="*/ 121 w 242"/>
                <a:gd name="T3" fmla="*/ 242 h 242"/>
                <a:gd name="T4" fmla="*/ 0 w 242"/>
                <a:gd name="T5" fmla="*/ 121 h 242"/>
                <a:gd name="T6" fmla="*/ 121 w 242"/>
                <a:gd name="T7" fmla="*/ 0 h 242"/>
                <a:gd name="T8" fmla="*/ 242 w 242"/>
                <a:gd name="T9" fmla="*/ 121 h 242"/>
                <a:gd name="T10" fmla="*/ 242 w 242"/>
                <a:gd name="T11" fmla="*/ 121 h 242"/>
                <a:gd name="T12" fmla="*/ 242 w 242"/>
                <a:gd name="T13" fmla="*/ 121 h 242"/>
              </a:gdLst>
              <a:ahLst/>
              <a:cxnLst>
                <a:cxn ang="0">
                  <a:pos x="T0" y="T1"/>
                </a:cxn>
                <a:cxn ang="0">
                  <a:pos x="T2" y="T3"/>
                </a:cxn>
                <a:cxn ang="0">
                  <a:pos x="T4" y="T5"/>
                </a:cxn>
                <a:cxn ang="0">
                  <a:pos x="T6" y="T7"/>
                </a:cxn>
                <a:cxn ang="0">
                  <a:pos x="T8" y="T9"/>
                </a:cxn>
                <a:cxn ang="0">
                  <a:pos x="T10" y="T11"/>
                </a:cxn>
                <a:cxn ang="0">
                  <a:pos x="T12" y="T13"/>
                </a:cxn>
              </a:cxnLst>
              <a:rect l="0" t="0" r="r" b="b"/>
              <a:pathLst>
                <a:path w="242" h="242">
                  <a:moveTo>
                    <a:pt x="242" y="121"/>
                  </a:moveTo>
                  <a:cubicBezTo>
                    <a:pt x="242" y="188"/>
                    <a:pt x="188" y="242"/>
                    <a:pt x="121" y="242"/>
                  </a:cubicBezTo>
                  <a:cubicBezTo>
                    <a:pt x="55" y="242"/>
                    <a:pt x="0" y="188"/>
                    <a:pt x="0" y="121"/>
                  </a:cubicBezTo>
                  <a:cubicBezTo>
                    <a:pt x="0" y="54"/>
                    <a:pt x="55" y="0"/>
                    <a:pt x="121" y="0"/>
                  </a:cubicBezTo>
                  <a:cubicBezTo>
                    <a:pt x="188" y="0"/>
                    <a:pt x="242" y="54"/>
                    <a:pt x="242" y="121"/>
                  </a:cubicBezTo>
                  <a:close/>
                  <a:moveTo>
                    <a:pt x="242" y="121"/>
                  </a:moveTo>
                  <a:cubicBezTo>
                    <a:pt x="242" y="121"/>
                    <a:pt x="242" y="121"/>
                    <a:pt x="242" y="121"/>
                  </a:cubicBezTo>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1" name="Freeform 20">
              <a:extLst>
                <a:ext uri="{FF2B5EF4-FFF2-40B4-BE49-F238E27FC236}">
                  <a16:creationId xmlns:a16="http://schemas.microsoft.com/office/drawing/2014/main" id="{0DCBCF69-A791-7644-A68E-1104C6303B7D}"/>
                </a:ext>
              </a:extLst>
            </p:cNvPr>
            <p:cNvSpPr>
              <a:spLocks noEditPoints="1"/>
            </p:cNvSpPr>
            <p:nvPr/>
          </p:nvSpPr>
          <p:spPr bwMode="auto">
            <a:xfrm>
              <a:off x="1625601" y="915988"/>
              <a:ext cx="1263650" cy="1409700"/>
            </a:xfrm>
            <a:custGeom>
              <a:avLst/>
              <a:gdLst>
                <a:gd name="T0" fmla="*/ 1254 w 1404"/>
                <a:gd name="T1" fmla="*/ 318 h 1567"/>
                <a:gd name="T2" fmla="*/ 844 w 1404"/>
                <a:gd name="T3" fmla="*/ 198 h 1567"/>
                <a:gd name="T4" fmla="*/ 702 w 1404"/>
                <a:gd name="T5" fmla="*/ 0 h 1567"/>
                <a:gd name="T6" fmla="*/ 560 w 1404"/>
                <a:gd name="T7" fmla="*/ 198 h 1567"/>
                <a:gd name="T8" fmla="*/ 150 w 1404"/>
                <a:gd name="T9" fmla="*/ 318 h 1567"/>
                <a:gd name="T10" fmla="*/ 118 w 1404"/>
                <a:gd name="T11" fmla="*/ 615 h 1567"/>
                <a:gd name="T12" fmla="*/ 0 w 1404"/>
                <a:gd name="T13" fmla="*/ 1098 h 1567"/>
                <a:gd name="T14" fmla="*/ 261 w 1404"/>
                <a:gd name="T15" fmla="*/ 1198 h 1567"/>
                <a:gd name="T16" fmla="*/ 552 w 1404"/>
                <a:gd name="T17" fmla="*/ 1417 h 1567"/>
                <a:gd name="T18" fmla="*/ 852 w 1404"/>
                <a:gd name="T19" fmla="*/ 1417 h 1567"/>
                <a:gd name="T20" fmla="*/ 1142 w 1404"/>
                <a:gd name="T21" fmla="*/ 1198 h 1567"/>
                <a:gd name="T22" fmla="*/ 1404 w 1404"/>
                <a:gd name="T23" fmla="*/ 1098 h 1567"/>
                <a:gd name="T24" fmla="*/ 1283 w 1404"/>
                <a:gd name="T25" fmla="*/ 615 h 1567"/>
                <a:gd name="T26" fmla="*/ 1254 w 1404"/>
                <a:gd name="T27" fmla="*/ 376 h 1567"/>
                <a:gd name="T28" fmla="*/ 1254 w 1404"/>
                <a:gd name="T29" fmla="*/ 561 h 1567"/>
                <a:gd name="T30" fmla="*/ 1254 w 1404"/>
                <a:gd name="T31" fmla="*/ 376 h 1567"/>
                <a:gd name="T32" fmla="*/ 794 w 1404"/>
                <a:gd name="T33" fmla="*/ 150 h 1567"/>
                <a:gd name="T34" fmla="*/ 782 w 1404"/>
                <a:gd name="T35" fmla="*/ 196 h 1567"/>
                <a:gd name="T36" fmla="*/ 702 w 1404"/>
                <a:gd name="T37" fmla="*/ 242 h 1567"/>
                <a:gd name="T38" fmla="*/ 702 w 1404"/>
                <a:gd name="T39" fmla="*/ 58 h 1567"/>
                <a:gd name="T40" fmla="*/ 150 w 1404"/>
                <a:gd name="T41" fmla="*/ 376 h 1567"/>
                <a:gd name="T42" fmla="*/ 150 w 1404"/>
                <a:gd name="T43" fmla="*/ 561 h 1567"/>
                <a:gd name="T44" fmla="*/ 150 w 1404"/>
                <a:gd name="T45" fmla="*/ 1190 h 1567"/>
                <a:gd name="T46" fmla="*/ 150 w 1404"/>
                <a:gd name="T47" fmla="*/ 1006 h 1567"/>
                <a:gd name="T48" fmla="*/ 150 w 1404"/>
                <a:gd name="T49" fmla="*/ 1190 h 1567"/>
                <a:gd name="T50" fmla="*/ 610 w 1404"/>
                <a:gd name="T51" fmla="*/ 1417 h 1567"/>
                <a:gd name="T52" fmla="*/ 794 w 1404"/>
                <a:gd name="T53" fmla="*/ 1417 h 1567"/>
                <a:gd name="T54" fmla="*/ 816 w 1404"/>
                <a:gd name="T55" fmla="*/ 1320 h 1567"/>
                <a:gd name="T56" fmla="*/ 588 w 1404"/>
                <a:gd name="T57" fmla="*/ 1320 h 1567"/>
                <a:gd name="T58" fmla="*/ 300 w 1404"/>
                <a:gd name="T59" fmla="*/ 1098 h 1567"/>
                <a:gd name="T60" fmla="*/ 176 w 1404"/>
                <a:gd name="T61" fmla="*/ 616 h 1567"/>
                <a:gd name="T62" fmla="*/ 292 w 1404"/>
                <a:gd name="T63" fmla="*/ 420 h 1567"/>
                <a:gd name="T64" fmla="*/ 702 w 1404"/>
                <a:gd name="T65" fmla="*/ 299 h 1567"/>
                <a:gd name="T66" fmla="*/ 1112 w 1404"/>
                <a:gd name="T67" fmla="*/ 420 h 1567"/>
                <a:gd name="T68" fmla="*/ 1225 w 1404"/>
                <a:gd name="T69" fmla="*/ 615 h 1567"/>
                <a:gd name="T70" fmla="*/ 1104 w 1404"/>
                <a:gd name="T71" fmla="*/ 1098 h 1567"/>
                <a:gd name="T72" fmla="*/ 816 w 1404"/>
                <a:gd name="T73" fmla="*/ 1320 h 1567"/>
                <a:gd name="T74" fmla="*/ 1254 w 1404"/>
                <a:gd name="T75" fmla="*/ 1190 h 1567"/>
                <a:gd name="T76" fmla="*/ 1254 w 1404"/>
                <a:gd name="T77" fmla="*/ 1006 h 1567"/>
                <a:gd name="T78" fmla="*/ 1346 w 1404"/>
                <a:gd name="T79" fmla="*/ 1098 h 1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04" h="1567">
                  <a:moveTo>
                    <a:pt x="1404" y="468"/>
                  </a:moveTo>
                  <a:cubicBezTo>
                    <a:pt x="1404" y="386"/>
                    <a:pt x="1337" y="318"/>
                    <a:pt x="1254" y="318"/>
                  </a:cubicBezTo>
                  <a:cubicBezTo>
                    <a:pt x="1209" y="318"/>
                    <a:pt x="1168" y="338"/>
                    <a:pt x="1141" y="370"/>
                  </a:cubicBezTo>
                  <a:cubicBezTo>
                    <a:pt x="844" y="198"/>
                    <a:pt x="844" y="198"/>
                    <a:pt x="844" y="198"/>
                  </a:cubicBezTo>
                  <a:cubicBezTo>
                    <a:pt x="849" y="183"/>
                    <a:pt x="852" y="167"/>
                    <a:pt x="852" y="150"/>
                  </a:cubicBezTo>
                  <a:cubicBezTo>
                    <a:pt x="852" y="67"/>
                    <a:pt x="785" y="0"/>
                    <a:pt x="702" y="0"/>
                  </a:cubicBezTo>
                  <a:cubicBezTo>
                    <a:pt x="619" y="0"/>
                    <a:pt x="552" y="67"/>
                    <a:pt x="552" y="150"/>
                  </a:cubicBezTo>
                  <a:cubicBezTo>
                    <a:pt x="552" y="167"/>
                    <a:pt x="555" y="183"/>
                    <a:pt x="560" y="198"/>
                  </a:cubicBezTo>
                  <a:cubicBezTo>
                    <a:pt x="263" y="370"/>
                    <a:pt x="263" y="370"/>
                    <a:pt x="263" y="370"/>
                  </a:cubicBezTo>
                  <a:cubicBezTo>
                    <a:pt x="236" y="338"/>
                    <a:pt x="196" y="318"/>
                    <a:pt x="150" y="318"/>
                  </a:cubicBezTo>
                  <a:cubicBezTo>
                    <a:pt x="68" y="318"/>
                    <a:pt x="0" y="385"/>
                    <a:pt x="0" y="468"/>
                  </a:cubicBezTo>
                  <a:cubicBezTo>
                    <a:pt x="0" y="540"/>
                    <a:pt x="51" y="600"/>
                    <a:pt x="118" y="615"/>
                  </a:cubicBezTo>
                  <a:cubicBezTo>
                    <a:pt x="118" y="951"/>
                    <a:pt x="118" y="951"/>
                    <a:pt x="118" y="951"/>
                  </a:cubicBezTo>
                  <a:cubicBezTo>
                    <a:pt x="51" y="966"/>
                    <a:pt x="0" y="1026"/>
                    <a:pt x="0" y="1098"/>
                  </a:cubicBezTo>
                  <a:cubicBezTo>
                    <a:pt x="0" y="1181"/>
                    <a:pt x="67" y="1248"/>
                    <a:pt x="150" y="1248"/>
                  </a:cubicBezTo>
                  <a:cubicBezTo>
                    <a:pt x="194" y="1248"/>
                    <a:pt x="234" y="1229"/>
                    <a:pt x="261" y="1198"/>
                  </a:cubicBezTo>
                  <a:cubicBezTo>
                    <a:pt x="559" y="1370"/>
                    <a:pt x="559" y="1370"/>
                    <a:pt x="559" y="1370"/>
                  </a:cubicBezTo>
                  <a:cubicBezTo>
                    <a:pt x="554" y="1385"/>
                    <a:pt x="552" y="1400"/>
                    <a:pt x="552" y="1417"/>
                  </a:cubicBezTo>
                  <a:cubicBezTo>
                    <a:pt x="552" y="1499"/>
                    <a:pt x="619" y="1567"/>
                    <a:pt x="702" y="1567"/>
                  </a:cubicBezTo>
                  <a:cubicBezTo>
                    <a:pt x="785" y="1567"/>
                    <a:pt x="852" y="1499"/>
                    <a:pt x="852" y="1417"/>
                  </a:cubicBezTo>
                  <a:cubicBezTo>
                    <a:pt x="852" y="1400"/>
                    <a:pt x="849" y="1385"/>
                    <a:pt x="844" y="1370"/>
                  </a:cubicBezTo>
                  <a:cubicBezTo>
                    <a:pt x="1142" y="1198"/>
                    <a:pt x="1142" y="1198"/>
                    <a:pt x="1142" y="1198"/>
                  </a:cubicBezTo>
                  <a:cubicBezTo>
                    <a:pt x="1170" y="1229"/>
                    <a:pt x="1209" y="1248"/>
                    <a:pt x="1253" y="1248"/>
                  </a:cubicBezTo>
                  <a:cubicBezTo>
                    <a:pt x="1336" y="1248"/>
                    <a:pt x="1404" y="1181"/>
                    <a:pt x="1404" y="1098"/>
                  </a:cubicBezTo>
                  <a:cubicBezTo>
                    <a:pt x="1404" y="1025"/>
                    <a:pt x="1351" y="964"/>
                    <a:pt x="1283" y="951"/>
                  </a:cubicBezTo>
                  <a:cubicBezTo>
                    <a:pt x="1283" y="615"/>
                    <a:pt x="1283" y="615"/>
                    <a:pt x="1283" y="615"/>
                  </a:cubicBezTo>
                  <a:cubicBezTo>
                    <a:pt x="1352" y="602"/>
                    <a:pt x="1404" y="541"/>
                    <a:pt x="1404" y="468"/>
                  </a:cubicBezTo>
                  <a:close/>
                  <a:moveTo>
                    <a:pt x="1254" y="376"/>
                  </a:moveTo>
                  <a:cubicBezTo>
                    <a:pt x="1305" y="376"/>
                    <a:pt x="1346" y="418"/>
                    <a:pt x="1346" y="468"/>
                  </a:cubicBezTo>
                  <a:cubicBezTo>
                    <a:pt x="1346" y="519"/>
                    <a:pt x="1305" y="561"/>
                    <a:pt x="1254" y="561"/>
                  </a:cubicBezTo>
                  <a:cubicBezTo>
                    <a:pt x="1203" y="561"/>
                    <a:pt x="1162" y="519"/>
                    <a:pt x="1162" y="468"/>
                  </a:cubicBezTo>
                  <a:cubicBezTo>
                    <a:pt x="1162" y="418"/>
                    <a:pt x="1203" y="376"/>
                    <a:pt x="1254" y="376"/>
                  </a:cubicBezTo>
                  <a:close/>
                  <a:moveTo>
                    <a:pt x="702" y="58"/>
                  </a:moveTo>
                  <a:cubicBezTo>
                    <a:pt x="753" y="58"/>
                    <a:pt x="794" y="99"/>
                    <a:pt x="794" y="150"/>
                  </a:cubicBezTo>
                  <a:cubicBezTo>
                    <a:pt x="794" y="166"/>
                    <a:pt x="790" y="180"/>
                    <a:pt x="783" y="194"/>
                  </a:cubicBezTo>
                  <a:cubicBezTo>
                    <a:pt x="783" y="194"/>
                    <a:pt x="782" y="195"/>
                    <a:pt x="782" y="196"/>
                  </a:cubicBezTo>
                  <a:cubicBezTo>
                    <a:pt x="781" y="198"/>
                    <a:pt x="781" y="198"/>
                    <a:pt x="781" y="198"/>
                  </a:cubicBezTo>
                  <a:cubicBezTo>
                    <a:pt x="765" y="224"/>
                    <a:pt x="735" y="242"/>
                    <a:pt x="702" y="242"/>
                  </a:cubicBezTo>
                  <a:cubicBezTo>
                    <a:pt x="651" y="242"/>
                    <a:pt x="610" y="201"/>
                    <a:pt x="610" y="150"/>
                  </a:cubicBezTo>
                  <a:cubicBezTo>
                    <a:pt x="610" y="99"/>
                    <a:pt x="651" y="58"/>
                    <a:pt x="702" y="58"/>
                  </a:cubicBezTo>
                  <a:close/>
                  <a:moveTo>
                    <a:pt x="58" y="468"/>
                  </a:moveTo>
                  <a:cubicBezTo>
                    <a:pt x="58" y="418"/>
                    <a:pt x="100" y="376"/>
                    <a:pt x="150" y="376"/>
                  </a:cubicBezTo>
                  <a:cubicBezTo>
                    <a:pt x="201" y="376"/>
                    <a:pt x="243" y="418"/>
                    <a:pt x="243" y="468"/>
                  </a:cubicBezTo>
                  <a:cubicBezTo>
                    <a:pt x="243" y="519"/>
                    <a:pt x="201" y="561"/>
                    <a:pt x="150" y="561"/>
                  </a:cubicBezTo>
                  <a:cubicBezTo>
                    <a:pt x="100" y="561"/>
                    <a:pt x="58" y="519"/>
                    <a:pt x="58" y="468"/>
                  </a:cubicBezTo>
                  <a:close/>
                  <a:moveTo>
                    <a:pt x="150" y="1190"/>
                  </a:moveTo>
                  <a:cubicBezTo>
                    <a:pt x="100" y="1190"/>
                    <a:pt x="58" y="1149"/>
                    <a:pt x="58" y="1098"/>
                  </a:cubicBezTo>
                  <a:cubicBezTo>
                    <a:pt x="58" y="1047"/>
                    <a:pt x="100" y="1006"/>
                    <a:pt x="150" y="1006"/>
                  </a:cubicBezTo>
                  <a:cubicBezTo>
                    <a:pt x="201" y="1006"/>
                    <a:pt x="243" y="1047"/>
                    <a:pt x="243" y="1098"/>
                  </a:cubicBezTo>
                  <a:cubicBezTo>
                    <a:pt x="242" y="1149"/>
                    <a:pt x="201" y="1190"/>
                    <a:pt x="150" y="1190"/>
                  </a:cubicBezTo>
                  <a:close/>
                  <a:moveTo>
                    <a:pt x="702" y="1509"/>
                  </a:moveTo>
                  <a:cubicBezTo>
                    <a:pt x="651" y="1509"/>
                    <a:pt x="610" y="1467"/>
                    <a:pt x="610" y="1417"/>
                  </a:cubicBezTo>
                  <a:cubicBezTo>
                    <a:pt x="610" y="1366"/>
                    <a:pt x="651" y="1324"/>
                    <a:pt x="702" y="1324"/>
                  </a:cubicBezTo>
                  <a:cubicBezTo>
                    <a:pt x="753" y="1324"/>
                    <a:pt x="794" y="1366"/>
                    <a:pt x="794" y="1417"/>
                  </a:cubicBezTo>
                  <a:cubicBezTo>
                    <a:pt x="794" y="1467"/>
                    <a:pt x="753" y="1509"/>
                    <a:pt x="702" y="1509"/>
                  </a:cubicBezTo>
                  <a:close/>
                  <a:moveTo>
                    <a:pt x="816" y="1320"/>
                  </a:moveTo>
                  <a:cubicBezTo>
                    <a:pt x="789" y="1287"/>
                    <a:pt x="748" y="1267"/>
                    <a:pt x="702" y="1267"/>
                  </a:cubicBezTo>
                  <a:cubicBezTo>
                    <a:pt x="656" y="1267"/>
                    <a:pt x="615" y="1287"/>
                    <a:pt x="588" y="1320"/>
                  </a:cubicBezTo>
                  <a:cubicBezTo>
                    <a:pt x="292" y="1149"/>
                    <a:pt x="292" y="1149"/>
                    <a:pt x="292" y="1149"/>
                  </a:cubicBezTo>
                  <a:cubicBezTo>
                    <a:pt x="297" y="1133"/>
                    <a:pt x="300" y="1116"/>
                    <a:pt x="300" y="1098"/>
                  </a:cubicBezTo>
                  <a:cubicBezTo>
                    <a:pt x="300" y="1024"/>
                    <a:pt x="247" y="963"/>
                    <a:pt x="177" y="950"/>
                  </a:cubicBezTo>
                  <a:cubicBezTo>
                    <a:pt x="176" y="616"/>
                    <a:pt x="176" y="616"/>
                    <a:pt x="176" y="616"/>
                  </a:cubicBezTo>
                  <a:cubicBezTo>
                    <a:pt x="247" y="604"/>
                    <a:pt x="300" y="542"/>
                    <a:pt x="300" y="468"/>
                  </a:cubicBezTo>
                  <a:cubicBezTo>
                    <a:pt x="300" y="451"/>
                    <a:pt x="298" y="435"/>
                    <a:pt x="292" y="420"/>
                  </a:cubicBezTo>
                  <a:cubicBezTo>
                    <a:pt x="589" y="248"/>
                    <a:pt x="589" y="248"/>
                    <a:pt x="589" y="248"/>
                  </a:cubicBezTo>
                  <a:cubicBezTo>
                    <a:pt x="617" y="280"/>
                    <a:pt x="657" y="299"/>
                    <a:pt x="702" y="299"/>
                  </a:cubicBezTo>
                  <a:cubicBezTo>
                    <a:pt x="748" y="299"/>
                    <a:pt x="788" y="280"/>
                    <a:pt x="815" y="248"/>
                  </a:cubicBezTo>
                  <a:cubicBezTo>
                    <a:pt x="1112" y="420"/>
                    <a:pt x="1112" y="420"/>
                    <a:pt x="1112" y="420"/>
                  </a:cubicBezTo>
                  <a:cubicBezTo>
                    <a:pt x="1107" y="435"/>
                    <a:pt x="1104" y="451"/>
                    <a:pt x="1104" y="468"/>
                  </a:cubicBezTo>
                  <a:cubicBezTo>
                    <a:pt x="1104" y="541"/>
                    <a:pt x="1156" y="602"/>
                    <a:pt x="1225" y="615"/>
                  </a:cubicBezTo>
                  <a:cubicBezTo>
                    <a:pt x="1225" y="951"/>
                    <a:pt x="1225" y="951"/>
                    <a:pt x="1225" y="951"/>
                  </a:cubicBezTo>
                  <a:cubicBezTo>
                    <a:pt x="1156" y="964"/>
                    <a:pt x="1104" y="1025"/>
                    <a:pt x="1104" y="1098"/>
                  </a:cubicBezTo>
                  <a:cubicBezTo>
                    <a:pt x="1104" y="1116"/>
                    <a:pt x="1107" y="1133"/>
                    <a:pt x="1113" y="1148"/>
                  </a:cubicBezTo>
                  <a:lnTo>
                    <a:pt x="816" y="1320"/>
                  </a:lnTo>
                  <a:close/>
                  <a:moveTo>
                    <a:pt x="1346" y="1098"/>
                  </a:moveTo>
                  <a:cubicBezTo>
                    <a:pt x="1346" y="1149"/>
                    <a:pt x="1305" y="1190"/>
                    <a:pt x="1254" y="1190"/>
                  </a:cubicBezTo>
                  <a:cubicBezTo>
                    <a:pt x="1203" y="1190"/>
                    <a:pt x="1162" y="1149"/>
                    <a:pt x="1162" y="1098"/>
                  </a:cubicBezTo>
                  <a:cubicBezTo>
                    <a:pt x="1162" y="1047"/>
                    <a:pt x="1203" y="1006"/>
                    <a:pt x="1254" y="1006"/>
                  </a:cubicBezTo>
                  <a:cubicBezTo>
                    <a:pt x="1305" y="1006"/>
                    <a:pt x="1346" y="1047"/>
                    <a:pt x="1346" y="1098"/>
                  </a:cubicBezTo>
                  <a:close/>
                  <a:moveTo>
                    <a:pt x="1346" y="1098"/>
                  </a:moveTo>
                  <a:cubicBezTo>
                    <a:pt x="1346" y="1098"/>
                    <a:pt x="1346" y="1098"/>
                    <a:pt x="1346" y="1098"/>
                  </a:cubicBezTo>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32" name="Freeform 21">
              <a:extLst>
                <a:ext uri="{FF2B5EF4-FFF2-40B4-BE49-F238E27FC236}">
                  <a16:creationId xmlns:a16="http://schemas.microsoft.com/office/drawing/2014/main" id="{1895E8BE-6C92-6E4F-8CD9-00329DC9ADA0}"/>
                </a:ext>
              </a:extLst>
            </p:cNvPr>
            <p:cNvSpPr>
              <a:spLocks noEditPoints="1"/>
            </p:cNvSpPr>
            <p:nvPr/>
          </p:nvSpPr>
          <p:spPr bwMode="auto">
            <a:xfrm>
              <a:off x="1949451" y="1311275"/>
              <a:ext cx="615950" cy="573087"/>
            </a:xfrm>
            <a:custGeom>
              <a:avLst/>
              <a:gdLst>
                <a:gd name="T0" fmla="*/ 482 w 685"/>
                <a:gd name="T1" fmla="*/ 460 h 638"/>
                <a:gd name="T2" fmla="*/ 482 w 685"/>
                <a:gd name="T3" fmla="*/ 356 h 638"/>
                <a:gd name="T4" fmla="*/ 509 w 685"/>
                <a:gd name="T5" fmla="*/ 290 h 638"/>
                <a:gd name="T6" fmla="*/ 509 w 685"/>
                <a:gd name="T7" fmla="*/ 153 h 638"/>
                <a:gd name="T8" fmla="*/ 357 w 685"/>
                <a:gd name="T9" fmla="*/ 0 h 638"/>
                <a:gd name="T10" fmla="*/ 327 w 685"/>
                <a:gd name="T11" fmla="*/ 0 h 638"/>
                <a:gd name="T12" fmla="*/ 175 w 685"/>
                <a:gd name="T13" fmla="*/ 153 h 638"/>
                <a:gd name="T14" fmla="*/ 175 w 685"/>
                <a:gd name="T15" fmla="*/ 290 h 638"/>
                <a:gd name="T16" fmla="*/ 202 w 685"/>
                <a:gd name="T17" fmla="*/ 356 h 638"/>
                <a:gd name="T18" fmla="*/ 202 w 685"/>
                <a:gd name="T19" fmla="*/ 460 h 638"/>
                <a:gd name="T20" fmla="*/ 14 w 685"/>
                <a:gd name="T21" fmla="*/ 583 h 638"/>
                <a:gd name="T22" fmla="*/ 10 w 685"/>
                <a:gd name="T23" fmla="*/ 624 h 638"/>
                <a:gd name="T24" fmla="*/ 51 w 685"/>
                <a:gd name="T25" fmla="*/ 628 h 638"/>
                <a:gd name="T26" fmla="*/ 241 w 685"/>
                <a:gd name="T27" fmla="*/ 506 h 638"/>
                <a:gd name="T28" fmla="*/ 260 w 685"/>
                <a:gd name="T29" fmla="*/ 474 h 638"/>
                <a:gd name="T30" fmla="*/ 260 w 685"/>
                <a:gd name="T31" fmla="*/ 342 h 638"/>
                <a:gd name="T32" fmla="*/ 248 w 685"/>
                <a:gd name="T33" fmla="*/ 318 h 638"/>
                <a:gd name="T34" fmla="*/ 233 w 685"/>
                <a:gd name="T35" fmla="*/ 290 h 638"/>
                <a:gd name="T36" fmla="*/ 233 w 685"/>
                <a:gd name="T37" fmla="*/ 153 h 638"/>
                <a:gd name="T38" fmla="*/ 328 w 685"/>
                <a:gd name="T39" fmla="*/ 58 h 638"/>
                <a:gd name="T40" fmla="*/ 357 w 685"/>
                <a:gd name="T41" fmla="*/ 58 h 638"/>
                <a:gd name="T42" fmla="*/ 452 w 685"/>
                <a:gd name="T43" fmla="*/ 153 h 638"/>
                <a:gd name="T44" fmla="*/ 452 w 685"/>
                <a:gd name="T45" fmla="*/ 290 h 638"/>
                <a:gd name="T46" fmla="*/ 437 w 685"/>
                <a:gd name="T47" fmla="*/ 318 h 638"/>
                <a:gd name="T48" fmla="*/ 424 w 685"/>
                <a:gd name="T49" fmla="*/ 342 h 638"/>
                <a:gd name="T50" fmla="*/ 424 w 685"/>
                <a:gd name="T51" fmla="*/ 474 h 638"/>
                <a:gd name="T52" fmla="*/ 444 w 685"/>
                <a:gd name="T53" fmla="*/ 506 h 638"/>
                <a:gd name="T54" fmla="*/ 634 w 685"/>
                <a:gd name="T55" fmla="*/ 628 h 638"/>
                <a:gd name="T56" fmla="*/ 652 w 685"/>
                <a:gd name="T57" fmla="*/ 634 h 638"/>
                <a:gd name="T58" fmla="*/ 675 w 685"/>
                <a:gd name="T59" fmla="*/ 624 h 638"/>
                <a:gd name="T60" fmla="*/ 671 w 685"/>
                <a:gd name="T61" fmla="*/ 583 h 638"/>
                <a:gd name="T62" fmla="*/ 482 w 685"/>
                <a:gd name="T63" fmla="*/ 460 h 638"/>
                <a:gd name="T64" fmla="*/ 482 w 685"/>
                <a:gd name="T65" fmla="*/ 460 h 638"/>
                <a:gd name="T66" fmla="*/ 482 w 685"/>
                <a:gd name="T67" fmla="*/ 460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5" h="638">
                  <a:moveTo>
                    <a:pt x="482" y="460"/>
                  </a:moveTo>
                  <a:cubicBezTo>
                    <a:pt x="482" y="356"/>
                    <a:pt x="482" y="356"/>
                    <a:pt x="482" y="356"/>
                  </a:cubicBezTo>
                  <a:cubicBezTo>
                    <a:pt x="500" y="339"/>
                    <a:pt x="509" y="315"/>
                    <a:pt x="509" y="290"/>
                  </a:cubicBezTo>
                  <a:cubicBezTo>
                    <a:pt x="509" y="153"/>
                    <a:pt x="509" y="153"/>
                    <a:pt x="509" y="153"/>
                  </a:cubicBezTo>
                  <a:cubicBezTo>
                    <a:pt x="509" y="69"/>
                    <a:pt x="441" y="0"/>
                    <a:pt x="357" y="0"/>
                  </a:cubicBezTo>
                  <a:cubicBezTo>
                    <a:pt x="327" y="0"/>
                    <a:pt x="327" y="0"/>
                    <a:pt x="327" y="0"/>
                  </a:cubicBezTo>
                  <a:cubicBezTo>
                    <a:pt x="243" y="0"/>
                    <a:pt x="175" y="69"/>
                    <a:pt x="175" y="153"/>
                  </a:cubicBezTo>
                  <a:cubicBezTo>
                    <a:pt x="175" y="290"/>
                    <a:pt x="175" y="290"/>
                    <a:pt x="175" y="290"/>
                  </a:cubicBezTo>
                  <a:cubicBezTo>
                    <a:pt x="175" y="315"/>
                    <a:pt x="185" y="339"/>
                    <a:pt x="202" y="356"/>
                  </a:cubicBezTo>
                  <a:cubicBezTo>
                    <a:pt x="202" y="460"/>
                    <a:pt x="202" y="460"/>
                    <a:pt x="202" y="460"/>
                  </a:cubicBezTo>
                  <a:cubicBezTo>
                    <a:pt x="169" y="477"/>
                    <a:pt x="89" y="521"/>
                    <a:pt x="14" y="583"/>
                  </a:cubicBezTo>
                  <a:cubicBezTo>
                    <a:pt x="2" y="593"/>
                    <a:pt x="0" y="611"/>
                    <a:pt x="10" y="624"/>
                  </a:cubicBezTo>
                  <a:cubicBezTo>
                    <a:pt x="20" y="636"/>
                    <a:pt x="39" y="638"/>
                    <a:pt x="51" y="628"/>
                  </a:cubicBezTo>
                  <a:cubicBezTo>
                    <a:pt x="134" y="559"/>
                    <a:pt x="224" y="514"/>
                    <a:pt x="241" y="506"/>
                  </a:cubicBezTo>
                  <a:cubicBezTo>
                    <a:pt x="253" y="500"/>
                    <a:pt x="260" y="488"/>
                    <a:pt x="260" y="474"/>
                  </a:cubicBezTo>
                  <a:cubicBezTo>
                    <a:pt x="260" y="342"/>
                    <a:pt x="260" y="342"/>
                    <a:pt x="260" y="342"/>
                  </a:cubicBezTo>
                  <a:cubicBezTo>
                    <a:pt x="260" y="332"/>
                    <a:pt x="256" y="323"/>
                    <a:pt x="248" y="318"/>
                  </a:cubicBezTo>
                  <a:cubicBezTo>
                    <a:pt x="238" y="312"/>
                    <a:pt x="233" y="301"/>
                    <a:pt x="233" y="290"/>
                  </a:cubicBezTo>
                  <a:cubicBezTo>
                    <a:pt x="233" y="153"/>
                    <a:pt x="233" y="153"/>
                    <a:pt x="233" y="153"/>
                  </a:cubicBezTo>
                  <a:cubicBezTo>
                    <a:pt x="233" y="101"/>
                    <a:pt x="276" y="58"/>
                    <a:pt x="328" y="58"/>
                  </a:cubicBezTo>
                  <a:cubicBezTo>
                    <a:pt x="357" y="58"/>
                    <a:pt x="357" y="58"/>
                    <a:pt x="357" y="58"/>
                  </a:cubicBezTo>
                  <a:cubicBezTo>
                    <a:pt x="409" y="58"/>
                    <a:pt x="452" y="101"/>
                    <a:pt x="452" y="153"/>
                  </a:cubicBezTo>
                  <a:cubicBezTo>
                    <a:pt x="452" y="290"/>
                    <a:pt x="452" y="290"/>
                    <a:pt x="452" y="290"/>
                  </a:cubicBezTo>
                  <a:cubicBezTo>
                    <a:pt x="452" y="301"/>
                    <a:pt x="446" y="311"/>
                    <a:pt x="437" y="318"/>
                  </a:cubicBezTo>
                  <a:cubicBezTo>
                    <a:pt x="429" y="323"/>
                    <a:pt x="424" y="332"/>
                    <a:pt x="424" y="342"/>
                  </a:cubicBezTo>
                  <a:cubicBezTo>
                    <a:pt x="424" y="474"/>
                    <a:pt x="424" y="474"/>
                    <a:pt x="424" y="474"/>
                  </a:cubicBezTo>
                  <a:cubicBezTo>
                    <a:pt x="424" y="488"/>
                    <a:pt x="432" y="500"/>
                    <a:pt x="444" y="506"/>
                  </a:cubicBezTo>
                  <a:cubicBezTo>
                    <a:pt x="461" y="514"/>
                    <a:pt x="551" y="560"/>
                    <a:pt x="634" y="628"/>
                  </a:cubicBezTo>
                  <a:cubicBezTo>
                    <a:pt x="639" y="632"/>
                    <a:pt x="646" y="634"/>
                    <a:pt x="652" y="634"/>
                  </a:cubicBezTo>
                  <a:cubicBezTo>
                    <a:pt x="660" y="634"/>
                    <a:pt x="669" y="631"/>
                    <a:pt x="675" y="624"/>
                  </a:cubicBezTo>
                  <a:cubicBezTo>
                    <a:pt x="685" y="611"/>
                    <a:pt x="683" y="593"/>
                    <a:pt x="671" y="583"/>
                  </a:cubicBezTo>
                  <a:cubicBezTo>
                    <a:pt x="595" y="521"/>
                    <a:pt x="515" y="477"/>
                    <a:pt x="482" y="460"/>
                  </a:cubicBezTo>
                  <a:close/>
                  <a:moveTo>
                    <a:pt x="482" y="460"/>
                  </a:moveTo>
                  <a:cubicBezTo>
                    <a:pt x="482" y="460"/>
                    <a:pt x="482" y="460"/>
                    <a:pt x="482" y="460"/>
                  </a:cubicBezTo>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en-US" sz="1800" dirty="0"/>
            </a:p>
          </p:txBody>
        </p:sp>
      </p:grpSp>
      <p:sp>
        <p:nvSpPr>
          <p:cNvPr id="33" name="Freeform 174">
            <a:extLst>
              <a:ext uri="{FF2B5EF4-FFF2-40B4-BE49-F238E27FC236}">
                <a16:creationId xmlns:a16="http://schemas.microsoft.com/office/drawing/2014/main" id="{D564E672-E3C2-B34A-83CD-E896905CFDED}"/>
              </a:ext>
            </a:extLst>
          </p:cNvPr>
          <p:cNvSpPr>
            <a:spLocks/>
          </p:cNvSpPr>
          <p:nvPr userDrawn="1"/>
        </p:nvSpPr>
        <p:spPr bwMode="auto">
          <a:xfrm>
            <a:off x="2447503" y="4213627"/>
            <a:ext cx="526920" cy="304707"/>
          </a:xfrm>
          <a:custGeom>
            <a:avLst/>
            <a:gdLst>
              <a:gd name="T0" fmla="*/ 2736 w 3222"/>
              <a:gd name="T1" fmla="*/ 940 h 1868"/>
              <a:gd name="T2" fmla="*/ 2713 w 3222"/>
              <a:gd name="T3" fmla="*/ 940 h 1868"/>
              <a:gd name="T4" fmla="*/ 2714 w 3222"/>
              <a:gd name="T5" fmla="*/ 919 h 1868"/>
              <a:gd name="T6" fmla="*/ 2715 w 3222"/>
              <a:gd name="T7" fmla="*/ 895 h 1868"/>
              <a:gd name="T8" fmla="*/ 2142 w 3222"/>
              <a:gd name="T9" fmla="*/ 349 h 1868"/>
              <a:gd name="T10" fmla="*/ 1865 w 3222"/>
              <a:gd name="T11" fmla="*/ 416 h 1868"/>
              <a:gd name="T12" fmla="*/ 1848 w 3222"/>
              <a:gd name="T13" fmla="*/ 426 h 1868"/>
              <a:gd name="T14" fmla="*/ 1839 w 3222"/>
              <a:gd name="T15" fmla="*/ 409 h 1868"/>
              <a:gd name="T16" fmla="*/ 1121 w 3222"/>
              <a:gd name="T17" fmla="*/ 0 h 1868"/>
              <a:gd name="T18" fmla="*/ 306 w 3222"/>
              <a:gd name="T19" fmla="*/ 779 h 1868"/>
              <a:gd name="T20" fmla="*/ 325 w 3222"/>
              <a:gd name="T21" fmla="*/ 948 h 1868"/>
              <a:gd name="T22" fmla="*/ 329 w 3222"/>
              <a:gd name="T23" fmla="*/ 965 h 1868"/>
              <a:gd name="T24" fmla="*/ 312 w 3222"/>
              <a:gd name="T25" fmla="*/ 971 h 1868"/>
              <a:gd name="T26" fmla="*/ 0 w 3222"/>
              <a:gd name="T27" fmla="*/ 1404 h 1868"/>
              <a:gd name="T28" fmla="*/ 486 w 3222"/>
              <a:gd name="T29" fmla="*/ 1868 h 1868"/>
              <a:gd name="T30" fmla="*/ 2736 w 3222"/>
              <a:gd name="T31" fmla="*/ 1868 h 1868"/>
              <a:gd name="T32" fmla="*/ 3222 w 3222"/>
              <a:gd name="T33" fmla="*/ 1404 h 1868"/>
              <a:gd name="T34" fmla="*/ 2736 w 3222"/>
              <a:gd name="T35" fmla="*/ 940 h 1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22" h="1868">
                <a:moveTo>
                  <a:pt x="2736" y="940"/>
                </a:moveTo>
                <a:cubicBezTo>
                  <a:pt x="2713" y="940"/>
                  <a:pt x="2713" y="940"/>
                  <a:pt x="2713" y="940"/>
                </a:cubicBezTo>
                <a:cubicBezTo>
                  <a:pt x="2714" y="919"/>
                  <a:pt x="2714" y="919"/>
                  <a:pt x="2714" y="919"/>
                </a:cubicBezTo>
                <a:cubicBezTo>
                  <a:pt x="2715" y="912"/>
                  <a:pt x="2715" y="904"/>
                  <a:pt x="2715" y="895"/>
                </a:cubicBezTo>
                <a:cubicBezTo>
                  <a:pt x="2715" y="594"/>
                  <a:pt x="2458" y="349"/>
                  <a:pt x="2142" y="349"/>
                </a:cubicBezTo>
                <a:cubicBezTo>
                  <a:pt x="2045" y="349"/>
                  <a:pt x="1950" y="372"/>
                  <a:pt x="1865" y="416"/>
                </a:cubicBezTo>
                <a:cubicBezTo>
                  <a:pt x="1848" y="426"/>
                  <a:pt x="1848" y="426"/>
                  <a:pt x="1848" y="426"/>
                </a:cubicBezTo>
                <a:cubicBezTo>
                  <a:pt x="1839" y="409"/>
                  <a:pt x="1839" y="409"/>
                  <a:pt x="1839" y="409"/>
                </a:cubicBezTo>
                <a:cubicBezTo>
                  <a:pt x="1696" y="157"/>
                  <a:pt x="1421" y="0"/>
                  <a:pt x="1121" y="0"/>
                </a:cubicBezTo>
                <a:cubicBezTo>
                  <a:pt x="672" y="0"/>
                  <a:pt x="306" y="350"/>
                  <a:pt x="306" y="779"/>
                </a:cubicBezTo>
                <a:cubicBezTo>
                  <a:pt x="306" y="835"/>
                  <a:pt x="312" y="892"/>
                  <a:pt x="325" y="948"/>
                </a:cubicBezTo>
                <a:cubicBezTo>
                  <a:pt x="329" y="965"/>
                  <a:pt x="329" y="965"/>
                  <a:pt x="329" y="965"/>
                </a:cubicBezTo>
                <a:cubicBezTo>
                  <a:pt x="312" y="971"/>
                  <a:pt x="312" y="971"/>
                  <a:pt x="312" y="971"/>
                </a:cubicBezTo>
                <a:cubicBezTo>
                  <a:pt x="126" y="1039"/>
                  <a:pt x="0" y="1213"/>
                  <a:pt x="0" y="1404"/>
                </a:cubicBezTo>
                <a:cubicBezTo>
                  <a:pt x="0" y="1660"/>
                  <a:pt x="218" y="1868"/>
                  <a:pt x="486" y="1868"/>
                </a:cubicBezTo>
                <a:cubicBezTo>
                  <a:pt x="2736" y="1868"/>
                  <a:pt x="2736" y="1868"/>
                  <a:pt x="2736" y="1868"/>
                </a:cubicBezTo>
                <a:cubicBezTo>
                  <a:pt x="3004" y="1868"/>
                  <a:pt x="3222" y="1660"/>
                  <a:pt x="3222" y="1404"/>
                </a:cubicBezTo>
                <a:cubicBezTo>
                  <a:pt x="3222" y="1148"/>
                  <a:pt x="3004" y="940"/>
                  <a:pt x="2736" y="940"/>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800" dirty="0"/>
          </a:p>
        </p:txBody>
      </p:sp>
      <p:grpSp>
        <p:nvGrpSpPr>
          <p:cNvPr id="34" name="Group 33">
            <a:extLst>
              <a:ext uri="{FF2B5EF4-FFF2-40B4-BE49-F238E27FC236}">
                <a16:creationId xmlns:a16="http://schemas.microsoft.com/office/drawing/2014/main" id="{74A20731-4088-254E-ACE9-60A80FBCBF65}"/>
              </a:ext>
            </a:extLst>
          </p:cNvPr>
          <p:cNvGrpSpPr/>
          <p:nvPr userDrawn="1"/>
        </p:nvGrpSpPr>
        <p:grpSpPr>
          <a:xfrm>
            <a:off x="2050483" y="1786320"/>
            <a:ext cx="1340989" cy="886353"/>
            <a:chOff x="1806575" y="1306513"/>
            <a:chExt cx="862013" cy="569913"/>
          </a:xfrm>
          <a:solidFill>
            <a:srgbClr val="A6A6A6"/>
          </a:solidFill>
        </p:grpSpPr>
        <p:sp>
          <p:nvSpPr>
            <p:cNvPr id="35" name="Freeform 36">
              <a:extLst>
                <a:ext uri="{FF2B5EF4-FFF2-40B4-BE49-F238E27FC236}">
                  <a16:creationId xmlns:a16="http://schemas.microsoft.com/office/drawing/2014/main" id="{12D5F071-90CE-8849-906D-EFBFDF2DEF11}"/>
                </a:ext>
              </a:extLst>
            </p:cNvPr>
            <p:cNvSpPr>
              <a:spLocks noEditPoints="1"/>
            </p:cNvSpPr>
            <p:nvPr/>
          </p:nvSpPr>
          <p:spPr bwMode="auto">
            <a:xfrm>
              <a:off x="1806575" y="1790701"/>
              <a:ext cx="862013" cy="85725"/>
            </a:xfrm>
            <a:custGeom>
              <a:avLst/>
              <a:gdLst>
                <a:gd name="T0" fmla="*/ 311 w 312"/>
                <a:gd name="T1" fmla="*/ 1 h 31"/>
                <a:gd name="T2" fmla="*/ 310 w 312"/>
                <a:gd name="T3" fmla="*/ 0 h 31"/>
                <a:gd name="T4" fmla="*/ 2 w 312"/>
                <a:gd name="T5" fmla="*/ 0 h 31"/>
                <a:gd name="T6" fmla="*/ 0 w 312"/>
                <a:gd name="T7" fmla="*/ 1 h 31"/>
                <a:gd name="T8" fmla="*/ 0 w 312"/>
                <a:gd name="T9" fmla="*/ 2 h 31"/>
                <a:gd name="T10" fmla="*/ 41 w 312"/>
                <a:gd name="T11" fmla="*/ 31 h 31"/>
                <a:gd name="T12" fmla="*/ 271 w 312"/>
                <a:gd name="T13" fmla="*/ 31 h 31"/>
                <a:gd name="T14" fmla="*/ 312 w 312"/>
                <a:gd name="T15" fmla="*/ 2 h 31"/>
                <a:gd name="T16" fmla="*/ 311 w 312"/>
                <a:gd name="T17" fmla="*/ 1 h 31"/>
                <a:gd name="T18" fmla="*/ 179 w 312"/>
                <a:gd name="T19" fmla="*/ 21 h 31"/>
                <a:gd name="T20" fmla="*/ 133 w 312"/>
                <a:gd name="T21" fmla="*/ 21 h 31"/>
                <a:gd name="T22" fmla="*/ 133 w 312"/>
                <a:gd name="T23" fmla="*/ 10 h 31"/>
                <a:gd name="T24" fmla="*/ 179 w 312"/>
                <a:gd name="T25" fmla="*/ 10 h 31"/>
                <a:gd name="T26" fmla="*/ 179 w 312"/>
                <a:gd name="T27" fmla="*/ 21 h 31"/>
                <a:gd name="T28" fmla="*/ 179 w 312"/>
                <a:gd name="T29" fmla="*/ 21 h 31"/>
                <a:gd name="T30" fmla="*/ 179 w 312"/>
                <a:gd name="T31" fmla="*/ 2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2" h="31">
                  <a:moveTo>
                    <a:pt x="311" y="1"/>
                  </a:moveTo>
                  <a:cubicBezTo>
                    <a:pt x="311" y="0"/>
                    <a:pt x="311" y="0"/>
                    <a:pt x="310" y="0"/>
                  </a:cubicBezTo>
                  <a:cubicBezTo>
                    <a:pt x="2" y="0"/>
                    <a:pt x="2" y="0"/>
                    <a:pt x="2" y="0"/>
                  </a:cubicBezTo>
                  <a:cubicBezTo>
                    <a:pt x="1" y="0"/>
                    <a:pt x="1" y="0"/>
                    <a:pt x="0" y="1"/>
                  </a:cubicBezTo>
                  <a:cubicBezTo>
                    <a:pt x="0" y="1"/>
                    <a:pt x="0" y="1"/>
                    <a:pt x="0" y="2"/>
                  </a:cubicBezTo>
                  <a:cubicBezTo>
                    <a:pt x="0" y="2"/>
                    <a:pt x="5" y="31"/>
                    <a:pt x="41" y="31"/>
                  </a:cubicBezTo>
                  <a:cubicBezTo>
                    <a:pt x="271" y="31"/>
                    <a:pt x="271" y="31"/>
                    <a:pt x="271" y="31"/>
                  </a:cubicBezTo>
                  <a:cubicBezTo>
                    <a:pt x="307" y="31"/>
                    <a:pt x="312" y="2"/>
                    <a:pt x="312" y="2"/>
                  </a:cubicBezTo>
                  <a:cubicBezTo>
                    <a:pt x="312" y="1"/>
                    <a:pt x="312" y="1"/>
                    <a:pt x="311" y="1"/>
                  </a:cubicBezTo>
                  <a:close/>
                  <a:moveTo>
                    <a:pt x="179" y="21"/>
                  </a:moveTo>
                  <a:cubicBezTo>
                    <a:pt x="133" y="21"/>
                    <a:pt x="133" y="21"/>
                    <a:pt x="133" y="21"/>
                  </a:cubicBezTo>
                  <a:cubicBezTo>
                    <a:pt x="133" y="10"/>
                    <a:pt x="133" y="10"/>
                    <a:pt x="133" y="10"/>
                  </a:cubicBezTo>
                  <a:cubicBezTo>
                    <a:pt x="179" y="10"/>
                    <a:pt x="179" y="10"/>
                    <a:pt x="179" y="10"/>
                  </a:cubicBezTo>
                  <a:lnTo>
                    <a:pt x="179" y="21"/>
                  </a:lnTo>
                  <a:close/>
                  <a:moveTo>
                    <a:pt x="179" y="21"/>
                  </a:moveTo>
                  <a:cubicBezTo>
                    <a:pt x="179" y="21"/>
                    <a:pt x="179" y="21"/>
                    <a:pt x="179"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6" name="Freeform 37">
              <a:extLst>
                <a:ext uri="{FF2B5EF4-FFF2-40B4-BE49-F238E27FC236}">
                  <a16:creationId xmlns:a16="http://schemas.microsoft.com/office/drawing/2014/main" id="{4FE62606-451A-264C-9909-681929BD47DA}"/>
                </a:ext>
              </a:extLst>
            </p:cNvPr>
            <p:cNvSpPr>
              <a:spLocks noEditPoints="1"/>
            </p:cNvSpPr>
            <p:nvPr/>
          </p:nvSpPr>
          <p:spPr bwMode="auto">
            <a:xfrm>
              <a:off x="1881188" y="1306513"/>
              <a:ext cx="709613" cy="452438"/>
            </a:xfrm>
            <a:custGeom>
              <a:avLst/>
              <a:gdLst>
                <a:gd name="T0" fmla="*/ 7 w 257"/>
                <a:gd name="T1" fmla="*/ 163 h 163"/>
                <a:gd name="T2" fmla="*/ 251 w 257"/>
                <a:gd name="T3" fmla="*/ 163 h 163"/>
                <a:gd name="T4" fmla="*/ 257 w 257"/>
                <a:gd name="T5" fmla="*/ 156 h 163"/>
                <a:gd name="T6" fmla="*/ 257 w 257"/>
                <a:gd name="T7" fmla="*/ 6 h 163"/>
                <a:gd name="T8" fmla="*/ 251 w 257"/>
                <a:gd name="T9" fmla="*/ 0 h 163"/>
                <a:gd name="T10" fmla="*/ 7 w 257"/>
                <a:gd name="T11" fmla="*/ 0 h 163"/>
                <a:gd name="T12" fmla="*/ 0 w 257"/>
                <a:gd name="T13" fmla="*/ 6 h 163"/>
                <a:gd name="T14" fmla="*/ 0 w 257"/>
                <a:gd name="T15" fmla="*/ 156 h 163"/>
                <a:gd name="T16" fmla="*/ 7 w 257"/>
                <a:gd name="T17" fmla="*/ 163 h 163"/>
                <a:gd name="T18" fmla="*/ 23 w 257"/>
                <a:gd name="T19" fmla="*/ 22 h 163"/>
                <a:gd name="T20" fmla="*/ 235 w 257"/>
                <a:gd name="T21" fmla="*/ 22 h 163"/>
                <a:gd name="T22" fmla="*/ 235 w 257"/>
                <a:gd name="T23" fmla="*/ 140 h 163"/>
                <a:gd name="T24" fmla="*/ 23 w 257"/>
                <a:gd name="T25" fmla="*/ 140 h 163"/>
                <a:gd name="T26" fmla="*/ 23 w 257"/>
                <a:gd name="T27" fmla="*/ 22 h 163"/>
                <a:gd name="T28" fmla="*/ 23 w 257"/>
                <a:gd name="T29" fmla="*/ 22 h 163"/>
                <a:gd name="T30" fmla="*/ 23 w 257"/>
                <a:gd name="T31" fmla="*/ 2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7" h="163">
                  <a:moveTo>
                    <a:pt x="7" y="163"/>
                  </a:moveTo>
                  <a:cubicBezTo>
                    <a:pt x="251" y="163"/>
                    <a:pt x="251" y="163"/>
                    <a:pt x="251" y="163"/>
                  </a:cubicBezTo>
                  <a:cubicBezTo>
                    <a:pt x="255" y="163"/>
                    <a:pt x="257" y="160"/>
                    <a:pt x="257" y="156"/>
                  </a:cubicBezTo>
                  <a:cubicBezTo>
                    <a:pt x="257" y="6"/>
                    <a:pt x="257" y="6"/>
                    <a:pt x="257" y="6"/>
                  </a:cubicBezTo>
                  <a:cubicBezTo>
                    <a:pt x="257" y="3"/>
                    <a:pt x="255" y="0"/>
                    <a:pt x="251" y="0"/>
                  </a:cubicBezTo>
                  <a:cubicBezTo>
                    <a:pt x="7" y="0"/>
                    <a:pt x="7" y="0"/>
                    <a:pt x="7" y="0"/>
                  </a:cubicBezTo>
                  <a:cubicBezTo>
                    <a:pt x="3" y="0"/>
                    <a:pt x="0" y="3"/>
                    <a:pt x="0" y="6"/>
                  </a:cubicBezTo>
                  <a:cubicBezTo>
                    <a:pt x="0" y="156"/>
                    <a:pt x="0" y="156"/>
                    <a:pt x="0" y="156"/>
                  </a:cubicBezTo>
                  <a:cubicBezTo>
                    <a:pt x="0" y="160"/>
                    <a:pt x="3" y="163"/>
                    <a:pt x="7" y="163"/>
                  </a:cubicBezTo>
                  <a:close/>
                  <a:moveTo>
                    <a:pt x="23" y="22"/>
                  </a:moveTo>
                  <a:cubicBezTo>
                    <a:pt x="235" y="22"/>
                    <a:pt x="235" y="22"/>
                    <a:pt x="235" y="22"/>
                  </a:cubicBezTo>
                  <a:cubicBezTo>
                    <a:pt x="235" y="140"/>
                    <a:pt x="235" y="140"/>
                    <a:pt x="235" y="140"/>
                  </a:cubicBezTo>
                  <a:cubicBezTo>
                    <a:pt x="23" y="140"/>
                    <a:pt x="23" y="140"/>
                    <a:pt x="23" y="140"/>
                  </a:cubicBezTo>
                  <a:lnTo>
                    <a:pt x="23" y="22"/>
                  </a:lnTo>
                  <a:close/>
                  <a:moveTo>
                    <a:pt x="23" y="22"/>
                  </a:moveTo>
                  <a:cubicBezTo>
                    <a:pt x="23" y="22"/>
                    <a:pt x="23" y="22"/>
                    <a:pt x="23" y="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grpSp>
        <p:nvGrpSpPr>
          <p:cNvPr id="38" name="Group 37">
            <a:extLst>
              <a:ext uri="{FF2B5EF4-FFF2-40B4-BE49-F238E27FC236}">
                <a16:creationId xmlns:a16="http://schemas.microsoft.com/office/drawing/2014/main" id="{4C0491A5-2D08-7041-AE79-7B2F5C05629C}"/>
              </a:ext>
            </a:extLst>
          </p:cNvPr>
          <p:cNvGrpSpPr/>
          <p:nvPr userDrawn="1"/>
        </p:nvGrpSpPr>
        <p:grpSpPr>
          <a:xfrm>
            <a:off x="953755" y="2699037"/>
            <a:ext cx="614695" cy="403947"/>
            <a:chOff x="1441450" y="2657475"/>
            <a:chExt cx="509588" cy="334963"/>
          </a:xfrm>
          <a:solidFill>
            <a:schemeClr val="tx1">
              <a:lumMod val="65000"/>
              <a:lumOff val="35000"/>
            </a:schemeClr>
          </a:solidFill>
        </p:grpSpPr>
        <p:sp>
          <p:nvSpPr>
            <p:cNvPr id="39" name="Freeform 25">
              <a:extLst>
                <a:ext uri="{FF2B5EF4-FFF2-40B4-BE49-F238E27FC236}">
                  <a16:creationId xmlns:a16="http://schemas.microsoft.com/office/drawing/2014/main" id="{E0C4F302-1F67-DE4E-B198-7D8B641E976F}"/>
                </a:ext>
              </a:extLst>
            </p:cNvPr>
            <p:cNvSpPr>
              <a:spLocks noEditPoints="1"/>
            </p:cNvSpPr>
            <p:nvPr/>
          </p:nvSpPr>
          <p:spPr bwMode="auto">
            <a:xfrm>
              <a:off x="1843088" y="2881313"/>
              <a:ext cx="107950" cy="111125"/>
            </a:xfrm>
            <a:custGeom>
              <a:avLst/>
              <a:gdLst>
                <a:gd name="T0" fmla="*/ 645 w 647"/>
                <a:gd name="T1" fmla="*/ 501 h 668"/>
                <a:gd name="T2" fmla="*/ 644 w 647"/>
                <a:gd name="T3" fmla="*/ 476 h 668"/>
                <a:gd name="T4" fmla="*/ 644 w 647"/>
                <a:gd name="T5" fmla="*/ 473 h 668"/>
                <a:gd name="T6" fmla="*/ 644 w 647"/>
                <a:gd name="T7" fmla="*/ 467 h 668"/>
                <a:gd name="T8" fmla="*/ 644 w 647"/>
                <a:gd name="T9" fmla="*/ 457 h 668"/>
                <a:gd name="T10" fmla="*/ 640 w 647"/>
                <a:gd name="T11" fmla="*/ 415 h 668"/>
                <a:gd name="T12" fmla="*/ 637 w 647"/>
                <a:gd name="T13" fmla="*/ 382 h 668"/>
                <a:gd name="T14" fmla="*/ 634 w 647"/>
                <a:gd name="T15" fmla="*/ 350 h 668"/>
                <a:gd name="T16" fmla="*/ 621 w 647"/>
                <a:gd name="T17" fmla="*/ 263 h 668"/>
                <a:gd name="T18" fmla="*/ 607 w 647"/>
                <a:gd name="T19" fmla="*/ 191 h 668"/>
                <a:gd name="T20" fmla="*/ 589 w 647"/>
                <a:gd name="T21" fmla="*/ 113 h 668"/>
                <a:gd name="T22" fmla="*/ 578 w 647"/>
                <a:gd name="T23" fmla="*/ 74 h 668"/>
                <a:gd name="T24" fmla="*/ 566 w 647"/>
                <a:gd name="T25" fmla="*/ 34 h 668"/>
                <a:gd name="T26" fmla="*/ 540 w 647"/>
                <a:gd name="T27" fmla="*/ 3 h 668"/>
                <a:gd name="T28" fmla="*/ 15 w 647"/>
                <a:gd name="T29" fmla="*/ 167 h 668"/>
                <a:gd name="T30" fmla="*/ 19 w 647"/>
                <a:gd name="T31" fmla="*/ 190 h 668"/>
                <a:gd name="T32" fmla="*/ 24 w 647"/>
                <a:gd name="T33" fmla="*/ 223 h 668"/>
                <a:gd name="T34" fmla="*/ 26 w 647"/>
                <a:gd name="T35" fmla="*/ 242 h 668"/>
                <a:gd name="T36" fmla="*/ 33 w 647"/>
                <a:gd name="T37" fmla="*/ 309 h 668"/>
                <a:gd name="T38" fmla="*/ 35 w 647"/>
                <a:gd name="T39" fmla="*/ 385 h 668"/>
                <a:gd name="T40" fmla="*/ 35 w 647"/>
                <a:gd name="T41" fmla="*/ 397 h 668"/>
                <a:gd name="T42" fmla="*/ 34 w 647"/>
                <a:gd name="T43" fmla="*/ 420 h 668"/>
                <a:gd name="T44" fmla="*/ 34 w 647"/>
                <a:gd name="T45" fmla="*/ 434 h 668"/>
                <a:gd name="T46" fmla="*/ 32 w 647"/>
                <a:gd name="T47" fmla="*/ 476 h 668"/>
                <a:gd name="T48" fmla="*/ 32 w 647"/>
                <a:gd name="T49" fmla="*/ 478 h 668"/>
                <a:gd name="T50" fmla="*/ 32 w 647"/>
                <a:gd name="T51" fmla="*/ 473 h 668"/>
                <a:gd name="T52" fmla="*/ 31 w 647"/>
                <a:gd name="T53" fmla="*/ 478 h 668"/>
                <a:gd name="T54" fmla="*/ 29 w 647"/>
                <a:gd name="T55" fmla="*/ 504 h 668"/>
                <a:gd name="T56" fmla="*/ 25 w 647"/>
                <a:gd name="T57" fmla="*/ 542 h 668"/>
                <a:gd name="T58" fmla="*/ 17 w 647"/>
                <a:gd name="T59" fmla="*/ 589 h 668"/>
                <a:gd name="T60" fmla="*/ 9 w 647"/>
                <a:gd name="T61" fmla="*/ 631 h 668"/>
                <a:gd name="T62" fmla="*/ 3 w 647"/>
                <a:gd name="T63" fmla="*/ 657 h 668"/>
                <a:gd name="T64" fmla="*/ 0 w 647"/>
                <a:gd name="T65" fmla="*/ 668 h 668"/>
                <a:gd name="T66" fmla="*/ 644 w 647"/>
                <a:gd name="T67" fmla="*/ 653 h 668"/>
                <a:gd name="T68" fmla="*/ 646 w 647"/>
                <a:gd name="T69" fmla="*/ 617 h 668"/>
                <a:gd name="T70" fmla="*/ 646 w 647"/>
                <a:gd name="T71" fmla="*/ 540 h 668"/>
                <a:gd name="T72" fmla="*/ 646 w 647"/>
                <a:gd name="T73" fmla="*/ 521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7" h="668">
                  <a:moveTo>
                    <a:pt x="646" y="521"/>
                  </a:moveTo>
                  <a:cubicBezTo>
                    <a:pt x="646" y="514"/>
                    <a:pt x="646" y="507"/>
                    <a:pt x="645" y="501"/>
                  </a:cubicBezTo>
                  <a:cubicBezTo>
                    <a:pt x="645" y="494"/>
                    <a:pt x="645" y="487"/>
                    <a:pt x="645" y="481"/>
                  </a:cubicBezTo>
                  <a:cubicBezTo>
                    <a:pt x="644" y="476"/>
                    <a:pt x="644" y="476"/>
                    <a:pt x="644" y="476"/>
                  </a:cubicBezTo>
                  <a:cubicBezTo>
                    <a:pt x="644" y="473"/>
                    <a:pt x="644" y="473"/>
                    <a:pt x="644" y="473"/>
                  </a:cubicBezTo>
                  <a:cubicBezTo>
                    <a:pt x="644" y="473"/>
                    <a:pt x="644" y="473"/>
                    <a:pt x="644" y="473"/>
                  </a:cubicBezTo>
                  <a:cubicBezTo>
                    <a:pt x="644" y="467"/>
                    <a:pt x="644" y="467"/>
                    <a:pt x="644" y="467"/>
                  </a:cubicBezTo>
                  <a:cubicBezTo>
                    <a:pt x="644" y="467"/>
                    <a:pt x="644" y="467"/>
                    <a:pt x="644" y="467"/>
                  </a:cubicBezTo>
                  <a:cubicBezTo>
                    <a:pt x="644" y="466"/>
                    <a:pt x="644" y="466"/>
                    <a:pt x="644" y="466"/>
                  </a:cubicBezTo>
                  <a:cubicBezTo>
                    <a:pt x="644" y="457"/>
                    <a:pt x="644" y="457"/>
                    <a:pt x="644" y="457"/>
                  </a:cubicBezTo>
                  <a:cubicBezTo>
                    <a:pt x="643" y="446"/>
                    <a:pt x="642" y="435"/>
                    <a:pt x="641" y="424"/>
                  </a:cubicBezTo>
                  <a:cubicBezTo>
                    <a:pt x="640" y="415"/>
                    <a:pt x="640" y="415"/>
                    <a:pt x="640" y="415"/>
                  </a:cubicBezTo>
                  <a:cubicBezTo>
                    <a:pt x="639" y="404"/>
                    <a:pt x="639" y="404"/>
                    <a:pt x="639" y="404"/>
                  </a:cubicBezTo>
                  <a:cubicBezTo>
                    <a:pt x="639" y="397"/>
                    <a:pt x="638" y="390"/>
                    <a:pt x="637" y="382"/>
                  </a:cubicBezTo>
                  <a:cubicBezTo>
                    <a:pt x="637" y="375"/>
                    <a:pt x="636" y="368"/>
                    <a:pt x="635" y="361"/>
                  </a:cubicBezTo>
                  <a:cubicBezTo>
                    <a:pt x="635" y="357"/>
                    <a:pt x="634" y="353"/>
                    <a:pt x="634" y="350"/>
                  </a:cubicBezTo>
                  <a:cubicBezTo>
                    <a:pt x="634" y="347"/>
                    <a:pt x="633" y="343"/>
                    <a:pt x="633" y="340"/>
                  </a:cubicBezTo>
                  <a:cubicBezTo>
                    <a:pt x="629" y="314"/>
                    <a:pt x="626" y="288"/>
                    <a:pt x="621" y="263"/>
                  </a:cubicBezTo>
                  <a:cubicBezTo>
                    <a:pt x="619" y="250"/>
                    <a:pt x="617" y="238"/>
                    <a:pt x="615" y="226"/>
                  </a:cubicBezTo>
                  <a:cubicBezTo>
                    <a:pt x="612" y="214"/>
                    <a:pt x="610" y="202"/>
                    <a:pt x="607" y="191"/>
                  </a:cubicBezTo>
                  <a:cubicBezTo>
                    <a:pt x="603" y="168"/>
                    <a:pt x="597" y="147"/>
                    <a:pt x="592" y="128"/>
                  </a:cubicBezTo>
                  <a:cubicBezTo>
                    <a:pt x="591" y="123"/>
                    <a:pt x="590" y="118"/>
                    <a:pt x="589" y="113"/>
                  </a:cubicBezTo>
                  <a:cubicBezTo>
                    <a:pt x="588" y="108"/>
                    <a:pt x="586" y="104"/>
                    <a:pt x="585" y="100"/>
                  </a:cubicBezTo>
                  <a:cubicBezTo>
                    <a:pt x="583" y="91"/>
                    <a:pt x="580" y="82"/>
                    <a:pt x="578" y="74"/>
                  </a:cubicBezTo>
                  <a:cubicBezTo>
                    <a:pt x="576" y="66"/>
                    <a:pt x="574" y="59"/>
                    <a:pt x="572" y="52"/>
                  </a:cubicBezTo>
                  <a:cubicBezTo>
                    <a:pt x="569" y="46"/>
                    <a:pt x="567" y="39"/>
                    <a:pt x="566" y="34"/>
                  </a:cubicBezTo>
                  <a:cubicBezTo>
                    <a:pt x="563" y="26"/>
                    <a:pt x="561" y="19"/>
                    <a:pt x="559" y="13"/>
                  </a:cubicBezTo>
                  <a:cubicBezTo>
                    <a:pt x="556" y="5"/>
                    <a:pt x="548" y="0"/>
                    <a:pt x="540" y="3"/>
                  </a:cubicBezTo>
                  <a:cubicBezTo>
                    <a:pt x="26" y="149"/>
                    <a:pt x="26" y="149"/>
                    <a:pt x="26" y="149"/>
                  </a:cubicBezTo>
                  <a:cubicBezTo>
                    <a:pt x="18" y="151"/>
                    <a:pt x="13" y="159"/>
                    <a:pt x="15" y="167"/>
                  </a:cubicBezTo>
                  <a:cubicBezTo>
                    <a:pt x="15" y="170"/>
                    <a:pt x="16" y="174"/>
                    <a:pt x="16" y="178"/>
                  </a:cubicBezTo>
                  <a:cubicBezTo>
                    <a:pt x="17" y="181"/>
                    <a:pt x="18" y="186"/>
                    <a:pt x="19" y="190"/>
                  </a:cubicBezTo>
                  <a:cubicBezTo>
                    <a:pt x="20" y="195"/>
                    <a:pt x="20" y="200"/>
                    <a:pt x="21" y="205"/>
                  </a:cubicBezTo>
                  <a:cubicBezTo>
                    <a:pt x="22" y="211"/>
                    <a:pt x="23" y="217"/>
                    <a:pt x="24" y="223"/>
                  </a:cubicBezTo>
                  <a:cubicBezTo>
                    <a:pt x="24" y="226"/>
                    <a:pt x="25" y="229"/>
                    <a:pt x="25" y="232"/>
                  </a:cubicBezTo>
                  <a:cubicBezTo>
                    <a:pt x="26" y="235"/>
                    <a:pt x="26" y="239"/>
                    <a:pt x="26" y="242"/>
                  </a:cubicBezTo>
                  <a:cubicBezTo>
                    <a:pt x="28" y="255"/>
                    <a:pt x="30" y="270"/>
                    <a:pt x="31" y="285"/>
                  </a:cubicBezTo>
                  <a:cubicBezTo>
                    <a:pt x="32" y="293"/>
                    <a:pt x="32" y="301"/>
                    <a:pt x="33" y="309"/>
                  </a:cubicBezTo>
                  <a:cubicBezTo>
                    <a:pt x="33" y="317"/>
                    <a:pt x="34" y="325"/>
                    <a:pt x="34" y="333"/>
                  </a:cubicBezTo>
                  <a:cubicBezTo>
                    <a:pt x="35" y="350"/>
                    <a:pt x="35" y="367"/>
                    <a:pt x="35" y="385"/>
                  </a:cubicBezTo>
                  <a:cubicBezTo>
                    <a:pt x="35" y="391"/>
                    <a:pt x="35" y="391"/>
                    <a:pt x="35" y="391"/>
                  </a:cubicBezTo>
                  <a:cubicBezTo>
                    <a:pt x="35" y="397"/>
                    <a:pt x="35" y="397"/>
                    <a:pt x="35" y="397"/>
                  </a:cubicBezTo>
                  <a:cubicBezTo>
                    <a:pt x="35" y="401"/>
                    <a:pt x="35" y="405"/>
                    <a:pt x="35" y="409"/>
                  </a:cubicBezTo>
                  <a:cubicBezTo>
                    <a:pt x="35" y="413"/>
                    <a:pt x="34" y="416"/>
                    <a:pt x="34" y="420"/>
                  </a:cubicBezTo>
                  <a:cubicBezTo>
                    <a:pt x="34" y="426"/>
                    <a:pt x="34" y="426"/>
                    <a:pt x="34" y="426"/>
                  </a:cubicBezTo>
                  <a:cubicBezTo>
                    <a:pt x="34" y="434"/>
                    <a:pt x="34" y="434"/>
                    <a:pt x="34" y="434"/>
                  </a:cubicBezTo>
                  <a:cubicBezTo>
                    <a:pt x="33" y="446"/>
                    <a:pt x="33" y="457"/>
                    <a:pt x="32" y="468"/>
                  </a:cubicBezTo>
                  <a:cubicBezTo>
                    <a:pt x="32" y="476"/>
                    <a:pt x="32" y="476"/>
                    <a:pt x="32" y="476"/>
                  </a:cubicBezTo>
                  <a:cubicBezTo>
                    <a:pt x="32" y="477"/>
                    <a:pt x="32" y="477"/>
                    <a:pt x="32" y="477"/>
                  </a:cubicBezTo>
                  <a:cubicBezTo>
                    <a:pt x="32" y="478"/>
                    <a:pt x="32" y="478"/>
                    <a:pt x="32" y="478"/>
                  </a:cubicBezTo>
                  <a:cubicBezTo>
                    <a:pt x="32" y="479"/>
                    <a:pt x="32" y="468"/>
                    <a:pt x="32" y="472"/>
                  </a:cubicBezTo>
                  <a:cubicBezTo>
                    <a:pt x="32" y="473"/>
                    <a:pt x="32" y="473"/>
                    <a:pt x="32" y="473"/>
                  </a:cubicBezTo>
                  <a:cubicBezTo>
                    <a:pt x="32" y="475"/>
                    <a:pt x="32" y="475"/>
                    <a:pt x="32" y="475"/>
                  </a:cubicBezTo>
                  <a:cubicBezTo>
                    <a:pt x="31" y="478"/>
                    <a:pt x="31" y="478"/>
                    <a:pt x="31" y="478"/>
                  </a:cubicBezTo>
                  <a:cubicBezTo>
                    <a:pt x="31" y="482"/>
                    <a:pt x="31" y="487"/>
                    <a:pt x="30" y="491"/>
                  </a:cubicBezTo>
                  <a:cubicBezTo>
                    <a:pt x="30" y="495"/>
                    <a:pt x="30" y="500"/>
                    <a:pt x="29" y="504"/>
                  </a:cubicBezTo>
                  <a:cubicBezTo>
                    <a:pt x="29" y="508"/>
                    <a:pt x="28" y="513"/>
                    <a:pt x="28" y="517"/>
                  </a:cubicBezTo>
                  <a:cubicBezTo>
                    <a:pt x="27" y="525"/>
                    <a:pt x="26" y="534"/>
                    <a:pt x="25" y="542"/>
                  </a:cubicBezTo>
                  <a:cubicBezTo>
                    <a:pt x="23" y="550"/>
                    <a:pt x="22" y="558"/>
                    <a:pt x="21" y="566"/>
                  </a:cubicBezTo>
                  <a:cubicBezTo>
                    <a:pt x="20" y="574"/>
                    <a:pt x="18" y="581"/>
                    <a:pt x="17" y="589"/>
                  </a:cubicBezTo>
                  <a:cubicBezTo>
                    <a:pt x="16" y="596"/>
                    <a:pt x="14" y="604"/>
                    <a:pt x="13" y="610"/>
                  </a:cubicBezTo>
                  <a:cubicBezTo>
                    <a:pt x="11" y="617"/>
                    <a:pt x="10" y="624"/>
                    <a:pt x="9" y="631"/>
                  </a:cubicBezTo>
                  <a:cubicBezTo>
                    <a:pt x="7" y="637"/>
                    <a:pt x="6" y="643"/>
                    <a:pt x="5" y="649"/>
                  </a:cubicBezTo>
                  <a:cubicBezTo>
                    <a:pt x="4" y="652"/>
                    <a:pt x="3" y="655"/>
                    <a:pt x="3" y="657"/>
                  </a:cubicBezTo>
                  <a:cubicBezTo>
                    <a:pt x="2" y="660"/>
                    <a:pt x="1" y="662"/>
                    <a:pt x="1" y="664"/>
                  </a:cubicBezTo>
                  <a:cubicBezTo>
                    <a:pt x="0" y="665"/>
                    <a:pt x="0" y="667"/>
                    <a:pt x="0" y="668"/>
                  </a:cubicBezTo>
                  <a:cubicBezTo>
                    <a:pt x="628" y="668"/>
                    <a:pt x="628" y="668"/>
                    <a:pt x="628" y="668"/>
                  </a:cubicBezTo>
                  <a:cubicBezTo>
                    <a:pt x="637" y="668"/>
                    <a:pt x="644" y="661"/>
                    <a:pt x="644" y="653"/>
                  </a:cubicBezTo>
                  <a:cubicBezTo>
                    <a:pt x="644" y="653"/>
                    <a:pt x="644" y="653"/>
                    <a:pt x="644" y="653"/>
                  </a:cubicBezTo>
                  <a:cubicBezTo>
                    <a:pt x="645" y="641"/>
                    <a:pt x="645" y="629"/>
                    <a:pt x="646" y="617"/>
                  </a:cubicBezTo>
                  <a:cubicBezTo>
                    <a:pt x="646" y="605"/>
                    <a:pt x="646" y="592"/>
                    <a:pt x="646" y="579"/>
                  </a:cubicBezTo>
                  <a:cubicBezTo>
                    <a:pt x="647" y="566"/>
                    <a:pt x="646" y="554"/>
                    <a:pt x="646" y="540"/>
                  </a:cubicBezTo>
                  <a:cubicBezTo>
                    <a:pt x="646" y="534"/>
                    <a:pt x="646" y="527"/>
                    <a:pt x="646" y="521"/>
                  </a:cubicBezTo>
                  <a:close/>
                  <a:moveTo>
                    <a:pt x="646" y="521"/>
                  </a:moveTo>
                  <a:cubicBezTo>
                    <a:pt x="646" y="521"/>
                    <a:pt x="646" y="521"/>
                    <a:pt x="646" y="5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0" name="Freeform 26">
              <a:extLst>
                <a:ext uri="{FF2B5EF4-FFF2-40B4-BE49-F238E27FC236}">
                  <a16:creationId xmlns:a16="http://schemas.microsoft.com/office/drawing/2014/main" id="{766231F8-ACFA-EA4F-895F-DEDAC1C50576}"/>
                </a:ext>
              </a:extLst>
            </p:cNvPr>
            <p:cNvSpPr>
              <a:spLocks noEditPoints="1"/>
            </p:cNvSpPr>
            <p:nvPr/>
          </p:nvSpPr>
          <p:spPr bwMode="auto">
            <a:xfrm>
              <a:off x="1790700" y="2747963"/>
              <a:ext cx="134938" cy="141288"/>
            </a:xfrm>
            <a:custGeom>
              <a:avLst/>
              <a:gdLst>
                <a:gd name="T0" fmla="*/ 803 w 807"/>
                <a:gd name="T1" fmla="*/ 633 h 849"/>
                <a:gd name="T2" fmla="*/ 790 w 807"/>
                <a:gd name="T3" fmla="*/ 605 h 849"/>
                <a:gd name="T4" fmla="*/ 767 w 807"/>
                <a:gd name="T5" fmla="*/ 558 h 849"/>
                <a:gd name="T6" fmla="*/ 753 w 807"/>
                <a:gd name="T7" fmla="*/ 532 h 849"/>
                <a:gd name="T8" fmla="*/ 721 w 807"/>
                <a:gd name="T9" fmla="*/ 476 h 849"/>
                <a:gd name="T10" fmla="*/ 703 w 807"/>
                <a:gd name="T11" fmla="*/ 446 h 849"/>
                <a:gd name="T12" fmla="*/ 640 w 807"/>
                <a:gd name="T13" fmla="*/ 351 h 849"/>
                <a:gd name="T14" fmla="*/ 623 w 807"/>
                <a:gd name="T15" fmla="*/ 327 h 849"/>
                <a:gd name="T16" fmla="*/ 592 w 807"/>
                <a:gd name="T17" fmla="*/ 288 h 849"/>
                <a:gd name="T18" fmla="*/ 554 w 807"/>
                <a:gd name="T19" fmla="*/ 242 h 849"/>
                <a:gd name="T20" fmla="*/ 529 w 807"/>
                <a:gd name="T21" fmla="*/ 213 h 849"/>
                <a:gd name="T22" fmla="*/ 490 w 807"/>
                <a:gd name="T23" fmla="*/ 171 h 849"/>
                <a:gd name="T24" fmla="*/ 439 w 807"/>
                <a:gd name="T25" fmla="*/ 121 h 849"/>
                <a:gd name="T26" fmla="*/ 392 w 807"/>
                <a:gd name="T27" fmla="*/ 78 h 849"/>
                <a:gd name="T28" fmla="*/ 351 w 807"/>
                <a:gd name="T29" fmla="*/ 43 h 849"/>
                <a:gd name="T30" fmla="*/ 319 w 807"/>
                <a:gd name="T31" fmla="*/ 17 h 849"/>
                <a:gd name="T32" fmla="*/ 281 w 807"/>
                <a:gd name="T33" fmla="*/ 7 h 849"/>
                <a:gd name="T34" fmla="*/ 6 w 807"/>
                <a:gd name="T35" fmla="*/ 362 h 849"/>
                <a:gd name="T36" fmla="*/ 23 w 807"/>
                <a:gd name="T37" fmla="*/ 380 h 849"/>
                <a:gd name="T38" fmla="*/ 47 w 807"/>
                <a:gd name="T39" fmla="*/ 404 h 849"/>
                <a:gd name="T40" fmla="*/ 74 w 807"/>
                <a:gd name="T41" fmla="*/ 436 h 849"/>
                <a:gd name="T42" fmla="*/ 104 w 807"/>
                <a:gd name="T43" fmla="*/ 472 h 849"/>
                <a:gd name="T44" fmla="*/ 136 w 807"/>
                <a:gd name="T45" fmla="*/ 514 h 849"/>
                <a:gd name="T46" fmla="*/ 151 w 807"/>
                <a:gd name="T47" fmla="*/ 536 h 849"/>
                <a:gd name="T48" fmla="*/ 166 w 807"/>
                <a:gd name="T49" fmla="*/ 559 h 849"/>
                <a:gd name="T50" fmla="*/ 195 w 807"/>
                <a:gd name="T51" fmla="*/ 606 h 849"/>
                <a:gd name="T52" fmla="*/ 201 w 807"/>
                <a:gd name="T53" fmla="*/ 618 h 849"/>
                <a:gd name="T54" fmla="*/ 232 w 807"/>
                <a:gd name="T55" fmla="*/ 677 h 849"/>
                <a:gd name="T56" fmla="*/ 248 w 807"/>
                <a:gd name="T57" fmla="*/ 711 h 849"/>
                <a:gd name="T58" fmla="*/ 262 w 807"/>
                <a:gd name="T59" fmla="*/ 743 h 849"/>
                <a:gd name="T60" fmla="*/ 273 w 807"/>
                <a:gd name="T61" fmla="*/ 772 h 849"/>
                <a:gd name="T62" fmla="*/ 282 w 807"/>
                <a:gd name="T63" fmla="*/ 795 h 849"/>
                <a:gd name="T64" fmla="*/ 291 w 807"/>
                <a:gd name="T65" fmla="*/ 823 h 849"/>
                <a:gd name="T66" fmla="*/ 316 w 807"/>
                <a:gd name="T67" fmla="*/ 846 h 849"/>
                <a:gd name="T68" fmla="*/ 795 w 807"/>
                <a:gd name="T69" fmla="*/ 654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7" h="849">
                  <a:moveTo>
                    <a:pt x="795" y="654"/>
                  </a:moveTo>
                  <a:cubicBezTo>
                    <a:pt x="803" y="651"/>
                    <a:pt x="807" y="641"/>
                    <a:pt x="803" y="633"/>
                  </a:cubicBezTo>
                  <a:cubicBezTo>
                    <a:pt x="801" y="629"/>
                    <a:pt x="799" y="625"/>
                    <a:pt x="797" y="620"/>
                  </a:cubicBezTo>
                  <a:cubicBezTo>
                    <a:pt x="795" y="615"/>
                    <a:pt x="792" y="610"/>
                    <a:pt x="790" y="605"/>
                  </a:cubicBezTo>
                  <a:cubicBezTo>
                    <a:pt x="787" y="598"/>
                    <a:pt x="783" y="591"/>
                    <a:pt x="779" y="583"/>
                  </a:cubicBezTo>
                  <a:cubicBezTo>
                    <a:pt x="775" y="575"/>
                    <a:pt x="771" y="566"/>
                    <a:pt x="767" y="558"/>
                  </a:cubicBezTo>
                  <a:cubicBezTo>
                    <a:pt x="764" y="553"/>
                    <a:pt x="762" y="549"/>
                    <a:pt x="760" y="545"/>
                  </a:cubicBezTo>
                  <a:cubicBezTo>
                    <a:pt x="758" y="541"/>
                    <a:pt x="755" y="536"/>
                    <a:pt x="753" y="532"/>
                  </a:cubicBezTo>
                  <a:cubicBezTo>
                    <a:pt x="748" y="523"/>
                    <a:pt x="743" y="514"/>
                    <a:pt x="738" y="505"/>
                  </a:cubicBezTo>
                  <a:cubicBezTo>
                    <a:pt x="732" y="495"/>
                    <a:pt x="727" y="486"/>
                    <a:pt x="721" y="476"/>
                  </a:cubicBezTo>
                  <a:cubicBezTo>
                    <a:pt x="718" y="471"/>
                    <a:pt x="715" y="466"/>
                    <a:pt x="712" y="461"/>
                  </a:cubicBezTo>
                  <a:cubicBezTo>
                    <a:pt x="709" y="456"/>
                    <a:pt x="706" y="451"/>
                    <a:pt x="703" y="446"/>
                  </a:cubicBezTo>
                  <a:cubicBezTo>
                    <a:pt x="696" y="436"/>
                    <a:pt x="690" y="425"/>
                    <a:pt x="683" y="415"/>
                  </a:cubicBezTo>
                  <a:cubicBezTo>
                    <a:pt x="669" y="394"/>
                    <a:pt x="655" y="372"/>
                    <a:pt x="640" y="351"/>
                  </a:cubicBezTo>
                  <a:cubicBezTo>
                    <a:pt x="636" y="346"/>
                    <a:pt x="632" y="341"/>
                    <a:pt x="628" y="335"/>
                  </a:cubicBezTo>
                  <a:cubicBezTo>
                    <a:pt x="623" y="327"/>
                    <a:pt x="623" y="327"/>
                    <a:pt x="623" y="327"/>
                  </a:cubicBezTo>
                  <a:cubicBezTo>
                    <a:pt x="616" y="320"/>
                    <a:pt x="616" y="320"/>
                    <a:pt x="616" y="320"/>
                  </a:cubicBezTo>
                  <a:cubicBezTo>
                    <a:pt x="608" y="309"/>
                    <a:pt x="600" y="299"/>
                    <a:pt x="592" y="288"/>
                  </a:cubicBezTo>
                  <a:cubicBezTo>
                    <a:pt x="584" y="278"/>
                    <a:pt x="575" y="268"/>
                    <a:pt x="567" y="258"/>
                  </a:cubicBezTo>
                  <a:cubicBezTo>
                    <a:pt x="563" y="252"/>
                    <a:pt x="559" y="247"/>
                    <a:pt x="554" y="242"/>
                  </a:cubicBezTo>
                  <a:cubicBezTo>
                    <a:pt x="550" y="237"/>
                    <a:pt x="546" y="233"/>
                    <a:pt x="542" y="228"/>
                  </a:cubicBezTo>
                  <a:cubicBezTo>
                    <a:pt x="537" y="223"/>
                    <a:pt x="533" y="218"/>
                    <a:pt x="529" y="213"/>
                  </a:cubicBezTo>
                  <a:cubicBezTo>
                    <a:pt x="524" y="208"/>
                    <a:pt x="520" y="203"/>
                    <a:pt x="516" y="199"/>
                  </a:cubicBezTo>
                  <a:cubicBezTo>
                    <a:pt x="507" y="190"/>
                    <a:pt x="498" y="180"/>
                    <a:pt x="490" y="171"/>
                  </a:cubicBezTo>
                  <a:cubicBezTo>
                    <a:pt x="482" y="162"/>
                    <a:pt x="473" y="154"/>
                    <a:pt x="464" y="146"/>
                  </a:cubicBezTo>
                  <a:cubicBezTo>
                    <a:pt x="456" y="137"/>
                    <a:pt x="448" y="129"/>
                    <a:pt x="439" y="121"/>
                  </a:cubicBezTo>
                  <a:cubicBezTo>
                    <a:pt x="431" y="113"/>
                    <a:pt x="423" y="106"/>
                    <a:pt x="415" y="99"/>
                  </a:cubicBezTo>
                  <a:cubicBezTo>
                    <a:pt x="408" y="91"/>
                    <a:pt x="400" y="85"/>
                    <a:pt x="392" y="78"/>
                  </a:cubicBezTo>
                  <a:cubicBezTo>
                    <a:pt x="385" y="72"/>
                    <a:pt x="378" y="65"/>
                    <a:pt x="371" y="60"/>
                  </a:cubicBezTo>
                  <a:cubicBezTo>
                    <a:pt x="364" y="54"/>
                    <a:pt x="358" y="48"/>
                    <a:pt x="351" y="43"/>
                  </a:cubicBezTo>
                  <a:cubicBezTo>
                    <a:pt x="345" y="38"/>
                    <a:pt x="339" y="34"/>
                    <a:pt x="334" y="29"/>
                  </a:cubicBezTo>
                  <a:cubicBezTo>
                    <a:pt x="329" y="25"/>
                    <a:pt x="324" y="21"/>
                    <a:pt x="319" y="17"/>
                  </a:cubicBezTo>
                  <a:cubicBezTo>
                    <a:pt x="312" y="12"/>
                    <a:pt x="307" y="8"/>
                    <a:pt x="302" y="5"/>
                  </a:cubicBezTo>
                  <a:cubicBezTo>
                    <a:pt x="296" y="0"/>
                    <a:pt x="286" y="1"/>
                    <a:pt x="281" y="7"/>
                  </a:cubicBezTo>
                  <a:cubicBezTo>
                    <a:pt x="5" y="341"/>
                    <a:pt x="5" y="341"/>
                    <a:pt x="5" y="341"/>
                  </a:cubicBezTo>
                  <a:cubicBezTo>
                    <a:pt x="0" y="347"/>
                    <a:pt x="0" y="357"/>
                    <a:pt x="6" y="362"/>
                  </a:cubicBezTo>
                  <a:cubicBezTo>
                    <a:pt x="8" y="365"/>
                    <a:pt x="11" y="367"/>
                    <a:pt x="14" y="370"/>
                  </a:cubicBezTo>
                  <a:cubicBezTo>
                    <a:pt x="17" y="373"/>
                    <a:pt x="20" y="376"/>
                    <a:pt x="23" y="380"/>
                  </a:cubicBezTo>
                  <a:cubicBezTo>
                    <a:pt x="27" y="383"/>
                    <a:pt x="30" y="387"/>
                    <a:pt x="34" y="391"/>
                  </a:cubicBezTo>
                  <a:cubicBezTo>
                    <a:pt x="38" y="395"/>
                    <a:pt x="42" y="400"/>
                    <a:pt x="47" y="404"/>
                  </a:cubicBezTo>
                  <a:cubicBezTo>
                    <a:pt x="51" y="409"/>
                    <a:pt x="55" y="414"/>
                    <a:pt x="60" y="419"/>
                  </a:cubicBezTo>
                  <a:cubicBezTo>
                    <a:pt x="65" y="425"/>
                    <a:pt x="70" y="430"/>
                    <a:pt x="74" y="436"/>
                  </a:cubicBezTo>
                  <a:cubicBezTo>
                    <a:pt x="79" y="441"/>
                    <a:pt x="84" y="447"/>
                    <a:pt x="89" y="453"/>
                  </a:cubicBezTo>
                  <a:cubicBezTo>
                    <a:pt x="94" y="459"/>
                    <a:pt x="99" y="466"/>
                    <a:pt x="104" y="472"/>
                  </a:cubicBezTo>
                  <a:cubicBezTo>
                    <a:pt x="109" y="479"/>
                    <a:pt x="115" y="486"/>
                    <a:pt x="120" y="493"/>
                  </a:cubicBezTo>
                  <a:cubicBezTo>
                    <a:pt x="125" y="500"/>
                    <a:pt x="130" y="507"/>
                    <a:pt x="136" y="514"/>
                  </a:cubicBezTo>
                  <a:cubicBezTo>
                    <a:pt x="138" y="518"/>
                    <a:pt x="141" y="521"/>
                    <a:pt x="143" y="525"/>
                  </a:cubicBezTo>
                  <a:cubicBezTo>
                    <a:pt x="146" y="529"/>
                    <a:pt x="148" y="532"/>
                    <a:pt x="151" y="536"/>
                  </a:cubicBezTo>
                  <a:cubicBezTo>
                    <a:pt x="153" y="540"/>
                    <a:pt x="156" y="544"/>
                    <a:pt x="159" y="547"/>
                  </a:cubicBezTo>
                  <a:cubicBezTo>
                    <a:pt x="161" y="551"/>
                    <a:pt x="163" y="555"/>
                    <a:pt x="166" y="559"/>
                  </a:cubicBezTo>
                  <a:cubicBezTo>
                    <a:pt x="171" y="567"/>
                    <a:pt x="176" y="574"/>
                    <a:pt x="181" y="582"/>
                  </a:cubicBezTo>
                  <a:cubicBezTo>
                    <a:pt x="185" y="590"/>
                    <a:pt x="190" y="598"/>
                    <a:pt x="195" y="606"/>
                  </a:cubicBezTo>
                  <a:cubicBezTo>
                    <a:pt x="198" y="612"/>
                    <a:pt x="198" y="612"/>
                    <a:pt x="198" y="612"/>
                  </a:cubicBezTo>
                  <a:cubicBezTo>
                    <a:pt x="201" y="618"/>
                    <a:pt x="201" y="618"/>
                    <a:pt x="201" y="618"/>
                  </a:cubicBezTo>
                  <a:cubicBezTo>
                    <a:pt x="204" y="622"/>
                    <a:pt x="206" y="626"/>
                    <a:pt x="208" y="630"/>
                  </a:cubicBezTo>
                  <a:cubicBezTo>
                    <a:pt x="217" y="645"/>
                    <a:pt x="224" y="662"/>
                    <a:pt x="232" y="677"/>
                  </a:cubicBezTo>
                  <a:cubicBezTo>
                    <a:pt x="236" y="685"/>
                    <a:pt x="239" y="692"/>
                    <a:pt x="243" y="700"/>
                  </a:cubicBezTo>
                  <a:cubicBezTo>
                    <a:pt x="245" y="703"/>
                    <a:pt x="246" y="707"/>
                    <a:pt x="248" y="711"/>
                  </a:cubicBezTo>
                  <a:cubicBezTo>
                    <a:pt x="250" y="714"/>
                    <a:pt x="251" y="718"/>
                    <a:pt x="253" y="722"/>
                  </a:cubicBezTo>
                  <a:cubicBezTo>
                    <a:pt x="256" y="729"/>
                    <a:pt x="259" y="736"/>
                    <a:pt x="262" y="743"/>
                  </a:cubicBezTo>
                  <a:cubicBezTo>
                    <a:pt x="264" y="750"/>
                    <a:pt x="267" y="756"/>
                    <a:pt x="270" y="762"/>
                  </a:cubicBezTo>
                  <a:cubicBezTo>
                    <a:pt x="271" y="766"/>
                    <a:pt x="272" y="769"/>
                    <a:pt x="273" y="772"/>
                  </a:cubicBezTo>
                  <a:cubicBezTo>
                    <a:pt x="274" y="775"/>
                    <a:pt x="276" y="778"/>
                    <a:pt x="276" y="780"/>
                  </a:cubicBezTo>
                  <a:cubicBezTo>
                    <a:pt x="278" y="786"/>
                    <a:pt x="280" y="791"/>
                    <a:pt x="282" y="795"/>
                  </a:cubicBezTo>
                  <a:cubicBezTo>
                    <a:pt x="283" y="800"/>
                    <a:pt x="285" y="804"/>
                    <a:pt x="286" y="808"/>
                  </a:cubicBezTo>
                  <a:cubicBezTo>
                    <a:pt x="288" y="813"/>
                    <a:pt x="290" y="819"/>
                    <a:pt x="291" y="823"/>
                  </a:cubicBezTo>
                  <a:cubicBezTo>
                    <a:pt x="293" y="828"/>
                    <a:pt x="294" y="833"/>
                    <a:pt x="296" y="836"/>
                  </a:cubicBezTo>
                  <a:cubicBezTo>
                    <a:pt x="298" y="845"/>
                    <a:pt x="308" y="849"/>
                    <a:pt x="316" y="846"/>
                  </a:cubicBezTo>
                  <a:lnTo>
                    <a:pt x="795" y="654"/>
                  </a:lnTo>
                  <a:close/>
                  <a:moveTo>
                    <a:pt x="795" y="654"/>
                  </a:moveTo>
                  <a:cubicBezTo>
                    <a:pt x="795" y="654"/>
                    <a:pt x="795" y="654"/>
                    <a:pt x="795" y="6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1" name="Freeform 27">
              <a:extLst>
                <a:ext uri="{FF2B5EF4-FFF2-40B4-BE49-F238E27FC236}">
                  <a16:creationId xmlns:a16="http://schemas.microsoft.com/office/drawing/2014/main" id="{0835C8DF-7DB6-074A-96BF-C5102C44FF21}"/>
                </a:ext>
              </a:extLst>
            </p:cNvPr>
            <p:cNvSpPr>
              <a:spLocks noEditPoints="1"/>
            </p:cNvSpPr>
            <p:nvPr/>
          </p:nvSpPr>
          <p:spPr bwMode="auto">
            <a:xfrm>
              <a:off x="1684338" y="2695575"/>
              <a:ext cx="44450" cy="63500"/>
            </a:xfrm>
            <a:custGeom>
              <a:avLst/>
              <a:gdLst>
                <a:gd name="T0" fmla="*/ 26 w 266"/>
                <a:gd name="T1" fmla="*/ 364 h 376"/>
                <a:gd name="T2" fmla="*/ 40 w 266"/>
                <a:gd name="T3" fmla="*/ 366 h 376"/>
                <a:gd name="T4" fmla="*/ 56 w 266"/>
                <a:gd name="T5" fmla="*/ 369 h 376"/>
                <a:gd name="T6" fmla="*/ 74 w 266"/>
                <a:gd name="T7" fmla="*/ 372 h 376"/>
                <a:gd name="T8" fmla="*/ 92 w 266"/>
                <a:gd name="T9" fmla="*/ 376 h 376"/>
                <a:gd name="T10" fmla="*/ 266 w 266"/>
                <a:gd name="T11" fmla="*/ 20 h 376"/>
                <a:gd name="T12" fmla="*/ 240 w 266"/>
                <a:gd name="T13" fmla="*/ 16 h 376"/>
                <a:gd name="T14" fmla="*/ 223 w 266"/>
                <a:gd name="T15" fmla="*/ 13 h 376"/>
                <a:gd name="T16" fmla="*/ 207 w 266"/>
                <a:gd name="T17" fmla="*/ 11 h 376"/>
                <a:gd name="T18" fmla="*/ 175 w 266"/>
                <a:gd name="T19" fmla="*/ 7 h 376"/>
                <a:gd name="T20" fmla="*/ 145 w 266"/>
                <a:gd name="T21" fmla="*/ 5 h 376"/>
                <a:gd name="T22" fmla="*/ 117 w 266"/>
                <a:gd name="T23" fmla="*/ 3 h 376"/>
                <a:gd name="T24" fmla="*/ 92 w 266"/>
                <a:gd name="T25" fmla="*/ 2 h 376"/>
                <a:gd name="T26" fmla="*/ 71 w 266"/>
                <a:gd name="T27" fmla="*/ 1 h 376"/>
                <a:gd name="T28" fmla="*/ 52 w 266"/>
                <a:gd name="T29" fmla="*/ 0 h 376"/>
                <a:gd name="T30" fmla="*/ 32 w 266"/>
                <a:gd name="T31" fmla="*/ 0 h 376"/>
                <a:gd name="T32" fmla="*/ 16 w 266"/>
                <a:gd name="T33" fmla="*/ 15 h 376"/>
                <a:gd name="T34" fmla="*/ 0 w 266"/>
                <a:gd name="T35" fmla="*/ 346 h 376"/>
                <a:gd name="T36" fmla="*/ 14 w 266"/>
                <a:gd name="T37" fmla="*/ 363 h 376"/>
                <a:gd name="T38" fmla="*/ 26 w 266"/>
                <a:gd name="T39" fmla="*/ 364 h 376"/>
                <a:gd name="T40" fmla="*/ 26 w 266"/>
                <a:gd name="T41" fmla="*/ 364 h 376"/>
                <a:gd name="T42" fmla="*/ 26 w 266"/>
                <a:gd name="T43" fmla="*/ 364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6" h="376">
                  <a:moveTo>
                    <a:pt x="26" y="364"/>
                  </a:moveTo>
                  <a:cubicBezTo>
                    <a:pt x="30" y="365"/>
                    <a:pt x="35" y="366"/>
                    <a:pt x="40" y="366"/>
                  </a:cubicBezTo>
                  <a:cubicBezTo>
                    <a:pt x="45" y="367"/>
                    <a:pt x="50" y="368"/>
                    <a:pt x="56" y="369"/>
                  </a:cubicBezTo>
                  <a:cubicBezTo>
                    <a:pt x="62" y="370"/>
                    <a:pt x="68" y="371"/>
                    <a:pt x="74" y="372"/>
                  </a:cubicBezTo>
                  <a:cubicBezTo>
                    <a:pt x="80" y="373"/>
                    <a:pt x="86" y="375"/>
                    <a:pt x="92" y="376"/>
                  </a:cubicBezTo>
                  <a:cubicBezTo>
                    <a:pt x="266" y="20"/>
                    <a:pt x="266" y="20"/>
                    <a:pt x="266" y="20"/>
                  </a:cubicBezTo>
                  <a:cubicBezTo>
                    <a:pt x="257" y="18"/>
                    <a:pt x="249" y="17"/>
                    <a:pt x="240" y="16"/>
                  </a:cubicBezTo>
                  <a:cubicBezTo>
                    <a:pt x="235" y="15"/>
                    <a:pt x="229" y="14"/>
                    <a:pt x="223" y="13"/>
                  </a:cubicBezTo>
                  <a:cubicBezTo>
                    <a:pt x="218" y="13"/>
                    <a:pt x="212" y="12"/>
                    <a:pt x="207" y="11"/>
                  </a:cubicBezTo>
                  <a:cubicBezTo>
                    <a:pt x="196" y="10"/>
                    <a:pt x="185" y="9"/>
                    <a:pt x="175" y="7"/>
                  </a:cubicBezTo>
                  <a:cubicBezTo>
                    <a:pt x="164" y="7"/>
                    <a:pt x="154" y="6"/>
                    <a:pt x="145" y="5"/>
                  </a:cubicBezTo>
                  <a:cubicBezTo>
                    <a:pt x="135" y="4"/>
                    <a:pt x="126" y="3"/>
                    <a:pt x="117" y="3"/>
                  </a:cubicBezTo>
                  <a:cubicBezTo>
                    <a:pt x="108" y="2"/>
                    <a:pt x="100" y="2"/>
                    <a:pt x="92" y="2"/>
                  </a:cubicBezTo>
                  <a:cubicBezTo>
                    <a:pt x="85" y="1"/>
                    <a:pt x="77" y="1"/>
                    <a:pt x="71" y="1"/>
                  </a:cubicBezTo>
                  <a:cubicBezTo>
                    <a:pt x="64" y="0"/>
                    <a:pt x="58" y="0"/>
                    <a:pt x="52" y="0"/>
                  </a:cubicBezTo>
                  <a:cubicBezTo>
                    <a:pt x="44" y="0"/>
                    <a:pt x="37" y="0"/>
                    <a:pt x="32" y="0"/>
                  </a:cubicBezTo>
                  <a:cubicBezTo>
                    <a:pt x="24" y="0"/>
                    <a:pt x="17" y="7"/>
                    <a:pt x="16" y="15"/>
                  </a:cubicBezTo>
                  <a:cubicBezTo>
                    <a:pt x="0" y="346"/>
                    <a:pt x="0" y="346"/>
                    <a:pt x="0" y="346"/>
                  </a:cubicBezTo>
                  <a:cubicBezTo>
                    <a:pt x="0" y="355"/>
                    <a:pt x="6" y="362"/>
                    <a:pt x="14" y="363"/>
                  </a:cubicBezTo>
                  <a:cubicBezTo>
                    <a:pt x="17" y="363"/>
                    <a:pt x="21" y="364"/>
                    <a:pt x="26" y="364"/>
                  </a:cubicBezTo>
                  <a:close/>
                  <a:moveTo>
                    <a:pt x="26" y="364"/>
                  </a:moveTo>
                  <a:cubicBezTo>
                    <a:pt x="26" y="364"/>
                    <a:pt x="26" y="364"/>
                    <a:pt x="26" y="36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2" name="Freeform 28">
              <a:extLst>
                <a:ext uri="{FF2B5EF4-FFF2-40B4-BE49-F238E27FC236}">
                  <a16:creationId xmlns:a16="http://schemas.microsoft.com/office/drawing/2014/main" id="{9609F495-3643-6544-9CFF-F443152FFCF8}"/>
                </a:ext>
              </a:extLst>
            </p:cNvPr>
            <p:cNvSpPr>
              <a:spLocks noEditPoints="1"/>
            </p:cNvSpPr>
            <p:nvPr/>
          </p:nvSpPr>
          <p:spPr bwMode="auto">
            <a:xfrm>
              <a:off x="1760538" y="2713038"/>
              <a:ext cx="57150" cy="80963"/>
            </a:xfrm>
            <a:custGeom>
              <a:avLst/>
              <a:gdLst>
                <a:gd name="T0" fmla="*/ 33 w 336"/>
                <a:gd name="T1" fmla="*/ 447 h 488"/>
                <a:gd name="T2" fmla="*/ 46 w 336"/>
                <a:gd name="T3" fmla="*/ 457 h 488"/>
                <a:gd name="T4" fmla="*/ 58 w 336"/>
                <a:gd name="T5" fmla="*/ 465 h 488"/>
                <a:gd name="T6" fmla="*/ 64 w 336"/>
                <a:gd name="T7" fmla="*/ 470 h 488"/>
                <a:gd name="T8" fmla="*/ 70 w 336"/>
                <a:gd name="T9" fmla="*/ 474 h 488"/>
                <a:gd name="T10" fmla="*/ 82 w 336"/>
                <a:gd name="T11" fmla="*/ 483 h 488"/>
                <a:gd name="T12" fmla="*/ 104 w 336"/>
                <a:gd name="T13" fmla="*/ 479 h 488"/>
                <a:gd name="T14" fmla="*/ 331 w 336"/>
                <a:gd name="T15" fmla="*/ 132 h 488"/>
                <a:gd name="T16" fmla="*/ 326 w 336"/>
                <a:gd name="T17" fmla="*/ 110 h 488"/>
                <a:gd name="T18" fmla="*/ 314 w 336"/>
                <a:gd name="T19" fmla="*/ 103 h 488"/>
                <a:gd name="T20" fmla="*/ 307 w 336"/>
                <a:gd name="T21" fmla="*/ 99 h 488"/>
                <a:gd name="T22" fmla="*/ 299 w 336"/>
                <a:gd name="T23" fmla="*/ 95 h 488"/>
                <a:gd name="T24" fmla="*/ 278 w 336"/>
                <a:gd name="T25" fmla="*/ 83 h 488"/>
                <a:gd name="T26" fmla="*/ 254 w 336"/>
                <a:gd name="T27" fmla="*/ 70 h 488"/>
                <a:gd name="T28" fmla="*/ 229 w 336"/>
                <a:gd name="T29" fmla="*/ 58 h 488"/>
                <a:gd name="T30" fmla="*/ 202 w 336"/>
                <a:gd name="T31" fmla="*/ 44 h 488"/>
                <a:gd name="T32" fmla="*/ 172 w 336"/>
                <a:gd name="T33" fmla="*/ 31 h 488"/>
                <a:gd name="T34" fmla="*/ 141 w 336"/>
                <a:gd name="T35" fmla="*/ 17 h 488"/>
                <a:gd name="T36" fmla="*/ 107 w 336"/>
                <a:gd name="T37" fmla="*/ 3 h 488"/>
                <a:gd name="T38" fmla="*/ 99 w 336"/>
                <a:gd name="T39" fmla="*/ 0 h 488"/>
                <a:gd name="T40" fmla="*/ 0 w 336"/>
                <a:gd name="T41" fmla="*/ 426 h 488"/>
                <a:gd name="T42" fmla="*/ 16 w 336"/>
                <a:gd name="T43" fmla="*/ 436 h 488"/>
                <a:gd name="T44" fmla="*/ 33 w 336"/>
                <a:gd name="T45" fmla="*/ 447 h 488"/>
                <a:gd name="T46" fmla="*/ 33 w 336"/>
                <a:gd name="T47" fmla="*/ 447 h 488"/>
                <a:gd name="T48" fmla="*/ 33 w 336"/>
                <a:gd name="T49" fmla="*/ 447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36" h="488">
                  <a:moveTo>
                    <a:pt x="33" y="447"/>
                  </a:moveTo>
                  <a:cubicBezTo>
                    <a:pt x="37" y="450"/>
                    <a:pt x="42" y="454"/>
                    <a:pt x="46" y="457"/>
                  </a:cubicBezTo>
                  <a:cubicBezTo>
                    <a:pt x="50" y="460"/>
                    <a:pt x="54" y="462"/>
                    <a:pt x="58" y="465"/>
                  </a:cubicBezTo>
                  <a:cubicBezTo>
                    <a:pt x="59" y="466"/>
                    <a:pt x="62" y="468"/>
                    <a:pt x="64" y="470"/>
                  </a:cubicBezTo>
                  <a:cubicBezTo>
                    <a:pt x="66" y="471"/>
                    <a:pt x="68" y="473"/>
                    <a:pt x="70" y="474"/>
                  </a:cubicBezTo>
                  <a:cubicBezTo>
                    <a:pt x="75" y="477"/>
                    <a:pt x="78" y="480"/>
                    <a:pt x="82" y="483"/>
                  </a:cubicBezTo>
                  <a:cubicBezTo>
                    <a:pt x="89" y="488"/>
                    <a:pt x="99" y="486"/>
                    <a:pt x="104" y="479"/>
                  </a:cubicBezTo>
                  <a:cubicBezTo>
                    <a:pt x="331" y="132"/>
                    <a:pt x="331" y="132"/>
                    <a:pt x="331" y="132"/>
                  </a:cubicBezTo>
                  <a:cubicBezTo>
                    <a:pt x="336" y="125"/>
                    <a:pt x="334" y="115"/>
                    <a:pt x="326" y="110"/>
                  </a:cubicBezTo>
                  <a:cubicBezTo>
                    <a:pt x="323" y="108"/>
                    <a:pt x="319" y="106"/>
                    <a:pt x="314" y="103"/>
                  </a:cubicBezTo>
                  <a:cubicBezTo>
                    <a:pt x="312" y="102"/>
                    <a:pt x="310" y="101"/>
                    <a:pt x="307" y="99"/>
                  </a:cubicBezTo>
                  <a:cubicBezTo>
                    <a:pt x="305" y="98"/>
                    <a:pt x="302" y="96"/>
                    <a:pt x="299" y="95"/>
                  </a:cubicBezTo>
                  <a:cubicBezTo>
                    <a:pt x="293" y="91"/>
                    <a:pt x="286" y="87"/>
                    <a:pt x="278" y="83"/>
                  </a:cubicBezTo>
                  <a:cubicBezTo>
                    <a:pt x="271" y="79"/>
                    <a:pt x="263" y="75"/>
                    <a:pt x="254" y="70"/>
                  </a:cubicBezTo>
                  <a:cubicBezTo>
                    <a:pt x="246" y="66"/>
                    <a:pt x="238" y="62"/>
                    <a:pt x="229" y="58"/>
                  </a:cubicBezTo>
                  <a:cubicBezTo>
                    <a:pt x="220" y="53"/>
                    <a:pt x="211" y="49"/>
                    <a:pt x="202" y="44"/>
                  </a:cubicBezTo>
                  <a:cubicBezTo>
                    <a:pt x="192" y="40"/>
                    <a:pt x="182" y="35"/>
                    <a:pt x="172" y="31"/>
                  </a:cubicBezTo>
                  <a:cubicBezTo>
                    <a:pt x="162" y="26"/>
                    <a:pt x="151" y="21"/>
                    <a:pt x="141" y="17"/>
                  </a:cubicBezTo>
                  <a:cubicBezTo>
                    <a:pt x="130" y="12"/>
                    <a:pt x="119" y="8"/>
                    <a:pt x="107" y="3"/>
                  </a:cubicBezTo>
                  <a:cubicBezTo>
                    <a:pt x="104" y="2"/>
                    <a:pt x="101" y="1"/>
                    <a:pt x="99" y="0"/>
                  </a:cubicBezTo>
                  <a:cubicBezTo>
                    <a:pt x="0" y="426"/>
                    <a:pt x="0" y="426"/>
                    <a:pt x="0" y="426"/>
                  </a:cubicBezTo>
                  <a:cubicBezTo>
                    <a:pt x="6" y="429"/>
                    <a:pt x="11" y="433"/>
                    <a:pt x="16" y="436"/>
                  </a:cubicBezTo>
                  <a:cubicBezTo>
                    <a:pt x="22" y="440"/>
                    <a:pt x="27" y="443"/>
                    <a:pt x="33" y="447"/>
                  </a:cubicBezTo>
                  <a:close/>
                  <a:moveTo>
                    <a:pt x="33" y="447"/>
                  </a:moveTo>
                  <a:cubicBezTo>
                    <a:pt x="33" y="447"/>
                    <a:pt x="33" y="447"/>
                    <a:pt x="33" y="44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3" name="Freeform 29">
              <a:extLst>
                <a:ext uri="{FF2B5EF4-FFF2-40B4-BE49-F238E27FC236}">
                  <a16:creationId xmlns:a16="http://schemas.microsoft.com/office/drawing/2014/main" id="{AA18EA6A-79C0-F946-9B60-D196A7DDC583}"/>
                </a:ext>
              </a:extLst>
            </p:cNvPr>
            <p:cNvSpPr>
              <a:spLocks noEditPoints="1"/>
            </p:cNvSpPr>
            <p:nvPr/>
          </p:nvSpPr>
          <p:spPr bwMode="auto">
            <a:xfrm>
              <a:off x="1539875" y="2697163"/>
              <a:ext cx="125413" cy="84138"/>
            </a:xfrm>
            <a:custGeom>
              <a:avLst/>
              <a:gdLst>
                <a:gd name="T0" fmla="*/ 591 w 751"/>
                <a:gd name="T1" fmla="*/ 353 h 502"/>
                <a:gd name="T2" fmla="*/ 628 w 751"/>
                <a:gd name="T3" fmla="*/ 349 h 502"/>
                <a:gd name="T4" fmla="*/ 661 w 751"/>
                <a:gd name="T5" fmla="*/ 347 h 502"/>
                <a:gd name="T6" fmla="*/ 689 w 751"/>
                <a:gd name="T7" fmla="*/ 346 h 502"/>
                <a:gd name="T8" fmla="*/ 720 w 751"/>
                <a:gd name="T9" fmla="*/ 345 h 502"/>
                <a:gd name="T10" fmla="*/ 750 w 751"/>
                <a:gd name="T11" fmla="*/ 328 h 502"/>
                <a:gd name="T12" fmla="*/ 712 w 751"/>
                <a:gd name="T13" fmla="*/ 2 h 502"/>
                <a:gd name="T14" fmla="*/ 682 w 751"/>
                <a:gd name="T15" fmla="*/ 5 h 502"/>
                <a:gd name="T16" fmla="*/ 633 w 751"/>
                <a:gd name="T17" fmla="*/ 13 h 502"/>
                <a:gd name="T18" fmla="*/ 606 w 751"/>
                <a:gd name="T19" fmla="*/ 18 h 502"/>
                <a:gd name="T20" fmla="*/ 546 w 751"/>
                <a:gd name="T21" fmla="*/ 30 h 502"/>
                <a:gd name="T22" fmla="*/ 514 w 751"/>
                <a:gd name="T23" fmla="*/ 38 h 502"/>
                <a:gd name="T24" fmla="*/ 446 w 751"/>
                <a:gd name="T25" fmla="*/ 58 h 502"/>
                <a:gd name="T26" fmla="*/ 411 w 751"/>
                <a:gd name="T27" fmla="*/ 69 h 502"/>
                <a:gd name="T28" fmla="*/ 376 w 751"/>
                <a:gd name="T29" fmla="*/ 81 h 502"/>
                <a:gd name="T30" fmla="*/ 306 w 751"/>
                <a:gd name="T31" fmla="*/ 109 h 502"/>
                <a:gd name="T32" fmla="*/ 272 w 751"/>
                <a:gd name="T33" fmla="*/ 124 h 502"/>
                <a:gd name="T34" fmla="*/ 239 w 751"/>
                <a:gd name="T35" fmla="*/ 140 h 502"/>
                <a:gd name="T36" fmla="*/ 177 w 751"/>
                <a:gd name="T37" fmla="*/ 172 h 502"/>
                <a:gd name="T38" fmla="*/ 122 w 751"/>
                <a:gd name="T39" fmla="*/ 204 h 502"/>
                <a:gd name="T40" fmla="*/ 75 w 751"/>
                <a:gd name="T41" fmla="*/ 234 h 502"/>
                <a:gd name="T42" fmla="*/ 38 w 751"/>
                <a:gd name="T43" fmla="*/ 259 h 502"/>
                <a:gd name="T44" fmla="*/ 8 w 751"/>
                <a:gd name="T45" fmla="*/ 281 h 502"/>
                <a:gd name="T46" fmla="*/ 134 w 751"/>
                <a:gd name="T47" fmla="*/ 493 h 502"/>
                <a:gd name="T48" fmla="*/ 167 w 751"/>
                <a:gd name="T49" fmla="*/ 491 h 502"/>
                <a:gd name="T50" fmla="*/ 195 w 751"/>
                <a:gd name="T51" fmla="*/ 476 h 502"/>
                <a:gd name="T52" fmla="*/ 232 w 751"/>
                <a:gd name="T53" fmla="*/ 458 h 502"/>
                <a:gd name="T54" fmla="*/ 276 w 751"/>
                <a:gd name="T55" fmla="*/ 438 h 502"/>
                <a:gd name="T56" fmla="*/ 326 w 751"/>
                <a:gd name="T57" fmla="*/ 418 h 502"/>
                <a:gd name="T58" fmla="*/ 367 w 751"/>
                <a:gd name="T59" fmla="*/ 403 h 502"/>
                <a:gd name="T60" fmla="*/ 395 w 751"/>
                <a:gd name="T61" fmla="*/ 394 h 502"/>
                <a:gd name="T62" fmla="*/ 437 w 751"/>
                <a:gd name="T63" fmla="*/ 382 h 502"/>
                <a:gd name="T64" fmla="*/ 481 w 751"/>
                <a:gd name="T65" fmla="*/ 372 h 502"/>
                <a:gd name="T66" fmla="*/ 509 w 751"/>
                <a:gd name="T67" fmla="*/ 366 h 502"/>
                <a:gd name="T68" fmla="*/ 551 w 751"/>
                <a:gd name="T69" fmla="*/ 358 h 502"/>
                <a:gd name="T70" fmla="*/ 578 w 751"/>
                <a:gd name="T71" fmla="*/ 355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1" h="502">
                  <a:moveTo>
                    <a:pt x="578" y="355"/>
                  </a:moveTo>
                  <a:cubicBezTo>
                    <a:pt x="582" y="354"/>
                    <a:pt x="586" y="353"/>
                    <a:pt x="591" y="353"/>
                  </a:cubicBezTo>
                  <a:cubicBezTo>
                    <a:pt x="595" y="353"/>
                    <a:pt x="599" y="352"/>
                    <a:pt x="603" y="352"/>
                  </a:cubicBezTo>
                  <a:cubicBezTo>
                    <a:pt x="612" y="351"/>
                    <a:pt x="620" y="350"/>
                    <a:pt x="628" y="349"/>
                  </a:cubicBezTo>
                  <a:cubicBezTo>
                    <a:pt x="636" y="349"/>
                    <a:pt x="643" y="348"/>
                    <a:pt x="651" y="348"/>
                  </a:cubicBezTo>
                  <a:cubicBezTo>
                    <a:pt x="654" y="347"/>
                    <a:pt x="658" y="347"/>
                    <a:pt x="661" y="347"/>
                  </a:cubicBezTo>
                  <a:cubicBezTo>
                    <a:pt x="665" y="347"/>
                    <a:pt x="668" y="346"/>
                    <a:pt x="671" y="346"/>
                  </a:cubicBezTo>
                  <a:cubicBezTo>
                    <a:pt x="678" y="346"/>
                    <a:pt x="683" y="346"/>
                    <a:pt x="689" y="346"/>
                  </a:cubicBezTo>
                  <a:cubicBezTo>
                    <a:pt x="694" y="346"/>
                    <a:pt x="700" y="346"/>
                    <a:pt x="704" y="345"/>
                  </a:cubicBezTo>
                  <a:cubicBezTo>
                    <a:pt x="710" y="345"/>
                    <a:pt x="716" y="345"/>
                    <a:pt x="720" y="345"/>
                  </a:cubicBezTo>
                  <a:cubicBezTo>
                    <a:pt x="726" y="345"/>
                    <a:pt x="730" y="345"/>
                    <a:pt x="734" y="345"/>
                  </a:cubicBezTo>
                  <a:cubicBezTo>
                    <a:pt x="744" y="345"/>
                    <a:pt x="751" y="337"/>
                    <a:pt x="750" y="328"/>
                  </a:cubicBezTo>
                  <a:cubicBezTo>
                    <a:pt x="730" y="16"/>
                    <a:pt x="730" y="16"/>
                    <a:pt x="730" y="16"/>
                  </a:cubicBezTo>
                  <a:cubicBezTo>
                    <a:pt x="729" y="7"/>
                    <a:pt x="721" y="0"/>
                    <a:pt x="712" y="2"/>
                  </a:cubicBezTo>
                  <a:cubicBezTo>
                    <a:pt x="708" y="2"/>
                    <a:pt x="703" y="3"/>
                    <a:pt x="698" y="3"/>
                  </a:cubicBezTo>
                  <a:cubicBezTo>
                    <a:pt x="693" y="4"/>
                    <a:pt x="688" y="5"/>
                    <a:pt x="682" y="5"/>
                  </a:cubicBezTo>
                  <a:cubicBezTo>
                    <a:pt x="675" y="6"/>
                    <a:pt x="667" y="8"/>
                    <a:pt x="659" y="9"/>
                  </a:cubicBezTo>
                  <a:cubicBezTo>
                    <a:pt x="651" y="10"/>
                    <a:pt x="642" y="11"/>
                    <a:pt x="633" y="13"/>
                  </a:cubicBezTo>
                  <a:cubicBezTo>
                    <a:pt x="629" y="13"/>
                    <a:pt x="624" y="14"/>
                    <a:pt x="620" y="15"/>
                  </a:cubicBezTo>
                  <a:cubicBezTo>
                    <a:pt x="615" y="16"/>
                    <a:pt x="611" y="17"/>
                    <a:pt x="606" y="18"/>
                  </a:cubicBezTo>
                  <a:cubicBezTo>
                    <a:pt x="597" y="19"/>
                    <a:pt x="587" y="21"/>
                    <a:pt x="577" y="23"/>
                  </a:cubicBezTo>
                  <a:cubicBezTo>
                    <a:pt x="567" y="26"/>
                    <a:pt x="557" y="28"/>
                    <a:pt x="546" y="30"/>
                  </a:cubicBezTo>
                  <a:cubicBezTo>
                    <a:pt x="541" y="32"/>
                    <a:pt x="536" y="33"/>
                    <a:pt x="530" y="34"/>
                  </a:cubicBezTo>
                  <a:cubicBezTo>
                    <a:pt x="525" y="35"/>
                    <a:pt x="519" y="37"/>
                    <a:pt x="514" y="38"/>
                  </a:cubicBezTo>
                  <a:cubicBezTo>
                    <a:pt x="503" y="41"/>
                    <a:pt x="492" y="44"/>
                    <a:pt x="480" y="47"/>
                  </a:cubicBezTo>
                  <a:cubicBezTo>
                    <a:pt x="469" y="51"/>
                    <a:pt x="458" y="54"/>
                    <a:pt x="446" y="58"/>
                  </a:cubicBezTo>
                  <a:cubicBezTo>
                    <a:pt x="440" y="59"/>
                    <a:pt x="434" y="61"/>
                    <a:pt x="428" y="63"/>
                  </a:cubicBezTo>
                  <a:cubicBezTo>
                    <a:pt x="423" y="65"/>
                    <a:pt x="417" y="67"/>
                    <a:pt x="411" y="69"/>
                  </a:cubicBezTo>
                  <a:cubicBezTo>
                    <a:pt x="405" y="71"/>
                    <a:pt x="399" y="73"/>
                    <a:pt x="393" y="75"/>
                  </a:cubicBezTo>
                  <a:cubicBezTo>
                    <a:pt x="387" y="77"/>
                    <a:pt x="382" y="79"/>
                    <a:pt x="376" y="81"/>
                  </a:cubicBezTo>
                  <a:cubicBezTo>
                    <a:pt x="364" y="86"/>
                    <a:pt x="352" y="90"/>
                    <a:pt x="341" y="95"/>
                  </a:cubicBezTo>
                  <a:cubicBezTo>
                    <a:pt x="329" y="99"/>
                    <a:pt x="317" y="104"/>
                    <a:pt x="306" y="109"/>
                  </a:cubicBezTo>
                  <a:cubicBezTo>
                    <a:pt x="300" y="112"/>
                    <a:pt x="295" y="114"/>
                    <a:pt x="289" y="116"/>
                  </a:cubicBezTo>
                  <a:cubicBezTo>
                    <a:pt x="283" y="119"/>
                    <a:pt x="278" y="122"/>
                    <a:pt x="272" y="124"/>
                  </a:cubicBezTo>
                  <a:cubicBezTo>
                    <a:pt x="266" y="127"/>
                    <a:pt x="261" y="129"/>
                    <a:pt x="255" y="132"/>
                  </a:cubicBezTo>
                  <a:cubicBezTo>
                    <a:pt x="250" y="134"/>
                    <a:pt x="244" y="137"/>
                    <a:pt x="239" y="140"/>
                  </a:cubicBezTo>
                  <a:cubicBezTo>
                    <a:pt x="228" y="145"/>
                    <a:pt x="218" y="150"/>
                    <a:pt x="207" y="156"/>
                  </a:cubicBezTo>
                  <a:cubicBezTo>
                    <a:pt x="197" y="161"/>
                    <a:pt x="187" y="167"/>
                    <a:pt x="177" y="172"/>
                  </a:cubicBezTo>
                  <a:cubicBezTo>
                    <a:pt x="167" y="177"/>
                    <a:pt x="158" y="183"/>
                    <a:pt x="149" y="188"/>
                  </a:cubicBezTo>
                  <a:cubicBezTo>
                    <a:pt x="139" y="194"/>
                    <a:pt x="130" y="199"/>
                    <a:pt x="122" y="204"/>
                  </a:cubicBezTo>
                  <a:cubicBezTo>
                    <a:pt x="113" y="209"/>
                    <a:pt x="105" y="214"/>
                    <a:pt x="97" y="219"/>
                  </a:cubicBezTo>
                  <a:cubicBezTo>
                    <a:pt x="89" y="224"/>
                    <a:pt x="82" y="229"/>
                    <a:pt x="75" y="234"/>
                  </a:cubicBezTo>
                  <a:cubicBezTo>
                    <a:pt x="68" y="239"/>
                    <a:pt x="61" y="243"/>
                    <a:pt x="55" y="247"/>
                  </a:cubicBezTo>
                  <a:cubicBezTo>
                    <a:pt x="49" y="252"/>
                    <a:pt x="43" y="256"/>
                    <a:pt x="38" y="259"/>
                  </a:cubicBezTo>
                  <a:cubicBezTo>
                    <a:pt x="32" y="263"/>
                    <a:pt x="28" y="267"/>
                    <a:pt x="23" y="270"/>
                  </a:cubicBezTo>
                  <a:cubicBezTo>
                    <a:pt x="17" y="274"/>
                    <a:pt x="12" y="278"/>
                    <a:pt x="8" y="281"/>
                  </a:cubicBezTo>
                  <a:cubicBezTo>
                    <a:pt x="1" y="286"/>
                    <a:pt x="0" y="295"/>
                    <a:pt x="5" y="302"/>
                  </a:cubicBezTo>
                  <a:cubicBezTo>
                    <a:pt x="134" y="493"/>
                    <a:pt x="134" y="493"/>
                    <a:pt x="134" y="493"/>
                  </a:cubicBezTo>
                  <a:cubicBezTo>
                    <a:pt x="139" y="500"/>
                    <a:pt x="148" y="502"/>
                    <a:pt x="155" y="498"/>
                  </a:cubicBezTo>
                  <a:cubicBezTo>
                    <a:pt x="158" y="496"/>
                    <a:pt x="162" y="494"/>
                    <a:pt x="167" y="491"/>
                  </a:cubicBezTo>
                  <a:cubicBezTo>
                    <a:pt x="171" y="489"/>
                    <a:pt x="175" y="487"/>
                    <a:pt x="179" y="484"/>
                  </a:cubicBezTo>
                  <a:cubicBezTo>
                    <a:pt x="184" y="482"/>
                    <a:pt x="189" y="479"/>
                    <a:pt x="195" y="476"/>
                  </a:cubicBezTo>
                  <a:cubicBezTo>
                    <a:pt x="200" y="473"/>
                    <a:pt x="206" y="470"/>
                    <a:pt x="212" y="467"/>
                  </a:cubicBezTo>
                  <a:cubicBezTo>
                    <a:pt x="218" y="464"/>
                    <a:pt x="225" y="461"/>
                    <a:pt x="232" y="458"/>
                  </a:cubicBezTo>
                  <a:cubicBezTo>
                    <a:pt x="238" y="455"/>
                    <a:pt x="245" y="451"/>
                    <a:pt x="253" y="448"/>
                  </a:cubicBezTo>
                  <a:cubicBezTo>
                    <a:pt x="260" y="445"/>
                    <a:pt x="268" y="441"/>
                    <a:pt x="276" y="438"/>
                  </a:cubicBezTo>
                  <a:cubicBezTo>
                    <a:pt x="284" y="434"/>
                    <a:pt x="292" y="431"/>
                    <a:pt x="300" y="428"/>
                  </a:cubicBezTo>
                  <a:cubicBezTo>
                    <a:pt x="309" y="424"/>
                    <a:pt x="317" y="421"/>
                    <a:pt x="326" y="418"/>
                  </a:cubicBezTo>
                  <a:cubicBezTo>
                    <a:pt x="335" y="414"/>
                    <a:pt x="344" y="411"/>
                    <a:pt x="353" y="408"/>
                  </a:cubicBezTo>
                  <a:cubicBezTo>
                    <a:pt x="357" y="406"/>
                    <a:pt x="362" y="405"/>
                    <a:pt x="367" y="403"/>
                  </a:cubicBezTo>
                  <a:cubicBezTo>
                    <a:pt x="371" y="402"/>
                    <a:pt x="376" y="400"/>
                    <a:pt x="381" y="399"/>
                  </a:cubicBezTo>
                  <a:cubicBezTo>
                    <a:pt x="385" y="397"/>
                    <a:pt x="390" y="396"/>
                    <a:pt x="395" y="394"/>
                  </a:cubicBezTo>
                  <a:cubicBezTo>
                    <a:pt x="399" y="393"/>
                    <a:pt x="404" y="392"/>
                    <a:pt x="409" y="390"/>
                  </a:cubicBezTo>
                  <a:cubicBezTo>
                    <a:pt x="418" y="388"/>
                    <a:pt x="428" y="385"/>
                    <a:pt x="437" y="382"/>
                  </a:cubicBezTo>
                  <a:cubicBezTo>
                    <a:pt x="447" y="380"/>
                    <a:pt x="457" y="377"/>
                    <a:pt x="466" y="375"/>
                  </a:cubicBezTo>
                  <a:cubicBezTo>
                    <a:pt x="471" y="374"/>
                    <a:pt x="476" y="373"/>
                    <a:pt x="481" y="372"/>
                  </a:cubicBezTo>
                  <a:cubicBezTo>
                    <a:pt x="485" y="371"/>
                    <a:pt x="490" y="370"/>
                    <a:pt x="495" y="369"/>
                  </a:cubicBezTo>
                  <a:cubicBezTo>
                    <a:pt x="500" y="368"/>
                    <a:pt x="504" y="367"/>
                    <a:pt x="509" y="366"/>
                  </a:cubicBezTo>
                  <a:cubicBezTo>
                    <a:pt x="514" y="365"/>
                    <a:pt x="518" y="364"/>
                    <a:pt x="523" y="363"/>
                  </a:cubicBezTo>
                  <a:cubicBezTo>
                    <a:pt x="533" y="362"/>
                    <a:pt x="542" y="360"/>
                    <a:pt x="551" y="358"/>
                  </a:cubicBezTo>
                  <a:cubicBezTo>
                    <a:pt x="560" y="357"/>
                    <a:pt x="569" y="356"/>
                    <a:pt x="578" y="355"/>
                  </a:cubicBezTo>
                  <a:close/>
                  <a:moveTo>
                    <a:pt x="578" y="355"/>
                  </a:moveTo>
                  <a:cubicBezTo>
                    <a:pt x="578" y="355"/>
                    <a:pt x="578" y="355"/>
                    <a:pt x="578"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4" name="Freeform 30">
              <a:extLst>
                <a:ext uri="{FF2B5EF4-FFF2-40B4-BE49-F238E27FC236}">
                  <a16:creationId xmlns:a16="http://schemas.microsoft.com/office/drawing/2014/main" id="{599F7059-0CFE-D543-B8E5-DCA1A39919F5}"/>
                </a:ext>
              </a:extLst>
            </p:cNvPr>
            <p:cNvSpPr>
              <a:spLocks noEditPoints="1"/>
            </p:cNvSpPr>
            <p:nvPr/>
          </p:nvSpPr>
          <p:spPr bwMode="auto">
            <a:xfrm>
              <a:off x="1454150" y="2762250"/>
              <a:ext cx="93663" cy="115888"/>
            </a:xfrm>
            <a:custGeom>
              <a:avLst/>
              <a:gdLst>
                <a:gd name="T0" fmla="*/ 199 w 560"/>
                <a:gd name="T1" fmla="*/ 231 h 690"/>
                <a:gd name="T2" fmla="*/ 179 w 560"/>
                <a:gd name="T3" fmla="*/ 260 h 690"/>
                <a:gd name="T4" fmla="*/ 141 w 560"/>
                <a:gd name="T5" fmla="*/ 321 h 690"/>
                <a:gd name="T6" fmla="*/ 132 w 560"/>
                <a:gd name="T7" fmla="*/ 336 h 690"/>
                <a:gd name="T8" fmla="*/ 90 w 560"/>
                <a:gd name="T9" fmla="*/ 413 h 690"/>
                <a:gd name="T10" fmla="*/ 68 w 560"/>
                <a:gd name="T11" fmla="*/ 457 h 690"/>
                <a:gd name="T12" fmla="*/ 50 w 560"/>
                <a:gd name="T13" fmla="*/ 498 h 690"/>
                <a:gd name="T14" fmla="*/ 29 w 560"/>
                <a:gd name="T15" fmla="*/ 548 h 690"/>
                <a:gd name="T16" fmla="*/ 14 w 560"/>
                <a:gd name="T17" fmla="*/ 588 h 690"/>
                <a:gd name="T18" fmla="*/ 3 w 560"/>
                <a:gd name="T19" fmla="*/ 621 h 690"/>
                <a:gd name="T20" fmla="*/ 133 w 560"/>
                <a:gd name="T21" fmla="*/ 687 h 690"/>
                <a:gd name="T22" fmla="*/ 159 w 560"/>
                <a:gd name="T23" fmla="*/ 666 h 690"/>
                <a:gd name="T24" fmla="*/ 174 w 560"/>
                <a:gd name="T25" fmla="*/ 636 h 690"/>
                <a:gd name="T26" fmla="*/ 195 w 560"/>
                <a:gd name="T27" fmla="*/ 598 h 690"/>
                <a:gd name="T28" fmla="*/ 220 w 560"/>
                <a:gd name="T29" fmla="*/ 554 h 690"/>
                <a:gd name="T30" fmla="*/ 235 w 560"/>
                <a:gd name="T31" fmla="*/ 531 h 690"/>
                <a:gd name="T32" fmla="*/ 286 w 560"/>
                <a:gd name="T33" fmla="*/ 457 h 690"/>
                <a:gd name="T34" fmla="*/ 300 w 560"/>
                <a:gd name="T35" fmla="*/ 438 h 690"/>
                <a:gd name="T36" fmla="*/ 324 w 560"/>
                <a:gd name="T37" fmla="*/ 408 h 690"/>
                <a:gd name="T38" fmla="*/ 354 w 560"/>
                <a:gd name="T39" fmla="*/ 372 h 690"/>
                <a:gd name="T40" fmla="*/ 375 w 560"/>
                <a:gd name="T41" fmla="*/ 350 h 690"/>
                <a:gd name="T42" fmla="*/ 405 w 560"/>
                <a:gd name="T43" fmla="*/ 317 h 690"/>
                <a:gd name="T44" fmla="*/ 445 w 560"/>
                <a:gd name="T45" fmla="*/ 279 h 690"/>
                <a:gd name="T46" fmla="*/ 483 w 560"/>
                <a:gd name="T47" fmla="*/ 246 h 690"/>
                <a:gd name="T48" fmla="*/ 514 w 560"/>
                <a:gd name="T49" fmla="*/ 219 h 690"/>
                <a:gd name="T50" fmla="*/ 534 w 560"/>
                <a:gd name="T51" fmla="*/ 204 h 690"/>
                <a:gd name="T52" fmla="*/ 551 w 560"/>
                <a:gd name="T53" fmla="*/ 191 h 690"/>
                <a:gd name="T54" fmla="*/ 416 w 560"/>
                <a:gd name="T55" fmla="*/ 7 h 690"/>
                <a:gd name="T56" fmla="*/ 383 w 560"/>
                <a:gd name="T57" fmla="*/ 16 h 690"/>
                <a:gd name="T58" fmla="*/ 371 w 560"/>
                <a:gd name="T59" fmla="*/ 27 h 690"/>
                <a:gd name="T60" fmla="*/ 339 w 560"/>
                <a:gd name="T61" fmla="*/ 60 h 690"/>
                <a:gd name="T62" fmla="*/ 302 w 560"/>
                <a:gd name="T63" fmla="*/ 101 h 690"/>
                <a:gd name="T64" fmla="*/ 262 w 560"/>
                <a:gd name="T65" fmla="*/ 148 h 690"/>
                <a:gd name="T66" fmla="*/ 220 w 560"/>
                <a:gd name="T67" fmla="*/ 202 h 690"/>
                <a:gd name="T68" fmla="*/ 210 w 560"/>
                <a:gd name="T69" fmla="*/ 216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0" h="690">
                  <a:moveTo>
                    <a:pt x="210" y="216"/>
                  </a:moveTo>
                  <a:cubicBezTo>
                    <a:pt x="206" y="221"/>
                    <a:pt x="203" y="226"/>
                    <a:pt x="199" y="231"/>
                  </a:cubicBezTo>
                  <a:cubicBezTo>
                    <a:pt x="196" y="236"/>
                    <a:pt x="193" y="240"/>
                    <a:pt x="189" y="245"/>
                  </a:cubicBezTo>
                  <a:cubicBezTo>
                    <a:pt x="186" y="250"/>
                    <a:pt x="183" y="255"/>
                    <a:pt x="179" y="260"/>
                  </a:cubicBezTo>
                  <a:cubicBezTo>
                    <a:pt x="173" y="270"/>
                    <a:pt x="166" y="280"/>
                    <a:pt x="159" y="290"/>
                  </a:cubicBezTo>
                  <a:cubicBezTo>
                    <a:pt x="153" y="301"/>
                    <a:pt x="147" y="311"/>
                    <a:pt x="141" y="321"/>
                  </a:cubicBezTo>
                  <a:cubicBezTo>
                    <a:pt x="136" y="329"/>
                    <a:pt x="136" y="329"/>
                    <a:pt x="136" y="329"/>
                  </a:cubicBezTo>
                  <a:cubicBezTo>
                    <a:pt x="132" y="336"/>
                    <a:pt x="132" y="336"/>
                    <a:pt x="132" y="336"/>
                  </a:cubicBezTo>
                  <a:cubicBezTo>
                    <a:pt x="129" y="342"/>
                    <a:pt x="126" y="347"/>
                    <a:pt x="123" y="352"/>
                  </a:cubicBezTo>
                  <a:cubicBezTo>
                    <a:pt x="111" y="372"/>
                    <a:pt x="100" y="393"/>
                    <a:pt x="90" y="413"/>
                  </a:cubicBezTo>
                  <a:cubicBezTo>
                    <a:pt x="85" y="423"/>
                    <a:pt x="80" y="433"/>
                    <a:pt x="75" y="442"/>
                  </a:cubicBezTo>
                  <a:cubicBezTo>
                    <a:pt x="73" y="447"/>
                    <a:pt x="71" y="452"/>
                    <a:pt x="68" y="457"/>
                  </a:cubicBezTo>
                  <a:cubicBezTo>
                    <a:pt x="66" y="461"/>
                    <a:pt x="64" y="466"/>
                    <a:pt x="62" y="471"/>
                  </a:cubicBezTo>
                  <a:cubicBezTo>
                    <a:pt x="58" y="480"/>
                    <a:pt x="54" y="489"/>
                    <a:pt x="50" y="498"/>
                  </a:cubicBezTo>
                  <a:cubicBezTo>
                    <a:pt x="46" y="507"/>
                    <a:pt x="42" y="516"/>
                    <a:pt x="39" y="524"/>
                  </a:cubicBezTo>
                  <a:cubicBezTo>
                    <a:pt x="36" y="532"/>
                    <a:pt x="32" y="540"/>
                    <a:pt x="29" y="548"/>
                  </a:cubicBezTo>
                  <a:cubicBezTo>
                    <a:pt x="27" y="555"/>
                    <a:pt x="24" y="562"/>
                    <a:pt x="21" y="569"/>
                  </a:cubicBezTo>
                  <a:cubicBezTo>
                    <a:pt x="19" y="576"/>
                    <a:pt x="16" y="582"/>
                    <a:pt x="14" y="588"/>
                  </a:cubicBezTo>
                  <a:cubicBezTo>
                    <a:pt x="12" y="594"/>
                    <a:pt x="10" y="600"/>
                    <a:pt x="9" y="604"/>
                  </a:cubicBezTo>
                  <a:cubicBezTo>
                    <a:pt x="7" y="611"/>
                    <a:pt x="5" y="616"/>
                    <a:pt x="3" y="621"/>
                  </a:cubicBezTo>
                  <a:cubicBezTo>
                    <a:pt x="0" y="629"/>
                    <a:pt x="5" y="638"/>
                    <a:pt x="12" y="641"/>
                  </a:cubicBezTo>
                  <a:cubicBezTo>
                    <a:pt x="133" y="687"/>
                    <a:pt x="133" y="687"/>
                    <a:pt x="133" y="687"/>
                  </a:cubicBezTo>
                  <a:cubicBezTo>
                    <a:pt x="141" y="690"/>
                    <a:pt x="149" y="686"/>
                    <a:pt x="153" y="679"/>
                  </a:cubicBezTo>
                  <a:cubicBezTo>
                    <a:pt x="155" y="675"/>
                    <a:pt x="157" y="671"/>
                    <a:pt x="159" y="666"/>
                  </a:cubicBezTo>
                  <a:cubicBezTo>
                    <a:pt x="161" y="662"/>
                    <a:pt x="163" y="657"/>
                    <a:pt x="166" y="652"/>
                  </a:cubicBezTo>
                  <a:cubicBezTo>
                    <a:pt x="168" y="647"/>
                    <a:pt x="171" y="642"/>
                    <a:pt x="174" y="636"/>
                  </a:cubicBezTo>
                  <a:cubicBezTo>
                    <a:pt x="177" y="630"/>
                    <a:pt x="180" y="624"/>
                    <a:pt x="184" y="618"/>
                  </a:cubicBezTo>
                  <a:cubicBezTo>
                    <a:pt x="187" y="612"/>
                    <a:pt x="191" y="605"/>
                    <a:pt x="195" y="598"/>
                  </a:cubicBezTo>
                  <a:cubicBezTo>
                    <a:pt x="199" y="591"/>
                    <a:pt x="203" y="584"/>
                    <a:pt x="207" y="577"/>
                  </a:cubicBezTo>
                  <a:cubicBezTo>
                    <a:pt x="211" y="569"/>
                    <a:pt x="216" y="562"/>
                    <a:pt x="220" y="554"/>
                  </a:cubicBezTo>
                  <a:cubicBezTo>
                    <a:pt x="223" y="550"/>
                    <a:pt x="225" y="546"/>
                    <a:pt x="227" y="542"/>
                  </a:cubicBezTo>
                  <a:cubicBezTo>
                    <a:pt x="230" y="539"/>
                    <a:pt x="232" y="535"/>
                    <a:pt x="235" y="531"/>
                  </a:cubicBezTo>
                  <a:cubicBezTo>
                    <a:pt x="240" y="523"/>
                    <a:pt x="245" y="515"/>
                    <a:pt x="251" y="506"/>
                  </a:cubicBezTo>
                  <a:cubicBezTo>
                    <a:pt x="262" y="490"/>
                    <a:pt x="273" y="473"/>
                    <a:pt x="286" y="457"/>
                  </a:cubicBezTo>
                  <a:cubicBezTo>
                    <a:pt x="289" y="453"/>
                    <a:pt x="292" y="449"/>
                    <a:pt x="295" y="445"/>
                  </a:cubicBezTo>
                  <a:cubicBezTo>
                    <a:pt x="300" y="438"/>
                    <a:pt x="300" y="438"/>
                    <a:pt x="300" y="438"/>
                  </a:cubicBezTo>
                  <a:cubicBezTo>
                    <a:pt x="304" y="432"/>
                    <a:pt x="304" y="432"/>
                    <a:pt x="304" y="432"/>
                  </a:cubicBezTo>
                  <a:cubicBezTo>
                    <a:pt x="311" y="424"/>
                    <a:pt x="317" y="416"/>
                    <a:pt x="324" y="408"/>
                  </a:cubicBezTo>
                  <a:cubicBezTo>
                    <a:pt x="330" y="400"/>
                    <a:pt x="337" y="392"/>
                    <a:pt x="344" y="384"/>
                  </a:cubicBezTo>
                  <a:cubicBezTo>
                    <a:pt x="347" y="380"/>
                    <a:pt x="351" y="376"/>
                    <a:pt x="354" y="372"/>
                  </a:cubicBezTo>
                  <a:cubicBezTo>
                    <a:pt x="357" y="368"/>
                    <a:pt x="361" y="365"/>
                    <a:pt x="364" y="361"/>
                  </a:cubicBezTo>
                  <a:cubicBezTo>
                    <a:pt x="368" y="357"/>
                    <a:pt x="371" y="353"/>
                    <a:pt x="375" y="350"/>
                  </a:cubicBezTo>
                  <a:cubicBezTo>
                    <a:pt x="378" y="346"/>
                    <a:pt x="381" y="342"/>
                    <a:pt x="385" y="339"/>
                  </a:cubicBezTo>
                  <a:cubicBezTo>
                    <a:pt x="392" y="331"/>
                    <a:pt x="399" y="324"/>
                    <a:pt x="405" y="317"/>
                  </a:cubicBezTo>
                  <a:cubicBezTo>
                    <a:pt x="412" y="310"/>
                    <a:pt x="419" y="304"/>
                    <a:pt x="426" y="297"/>
                  </a:cubicBezTo>
                  <a:cubicBezTo>
                    <a:pt x="432" y="291"/>
                    <a:pt x="439" y="284"/>
                    <a:pt x="445" y="279"/>
                  </a:cubicBezTo>
                  <a:cubicBezTo>
                    <a:pt x="452" y="273"/>
                    <a:pt x="458" y="267"/>
                    <a:pt x="465" y="261"/>
                  </a:cubicBezTo>
                  <a:cubicBezTo>
                    <a:pt x="471" y="256"/>
                    <a:pt x="477" y="251"/>
                    <a:pt x="483" y="246"/>
                  </a:cubicBezTo>
                  <a:cubicBezTo>
                    <a:pt x="489" y="241"/>
                    <a:pt x="494" y="236"/>
                    <a:pt x="500" y="231"/>
                  </a:cubicBezTo>
                  <a:cubicBezTo>
                    <a:pt x="505" y="227"/>
                    <a:pt x="510" y="223"/>
                    <a:pt x="514" y="219"/>
                  </a:cubicBezTo>
                  <a:cubicBezTo>
                    <a:pt x="519" y="216"/>
                    <a:pt x="523" y="212"/>
                    <a:pt x="527" y="209"/>
                  </a:cubicBezTo>
                  <a:cubicBezTo>
                    <a:pt x="529" y="208"/>
                    <a:pt x="532" y="206"/>
                    <a:pt x="534" y="204"/>
                  </a:cubicBezTo>
                  <a:cubicBezTo>
                    <a:pt x="536" y="203"/>
                    <a:pt x="538" y="201"/>
                    <a:pt x="540" y="200"/>
                  </a:cubicBezTo>
                  <a:cubicBezTo>
                    <a:pt x="544" y="196"/>
                    <a:pt x="548" y="193"/>
                    <a:pt x="551" y="191"/>
                  </a:cubicBezTo>
                  <a:cubicBezTo>
                    <a:pt x="559" y="186"/>
                    <a:pt x="560" y="175"/>
                    <a:pt x="554" y="168"/>
                  </a:cubicBezTo>
                  <a:cubicBezTo>
                    <a:pt x="416" y="7"/>
                    <a:pt x="416" y="7"/>
                    <a:pt x="416" y="7"/>
                  </a:cubicBezTo>
                  <a:cubicBezTo>
                    <a:pt x="410" y="0"/>
                    <a:pt x="400" y="0"/>
                    <a:pt x="393" y="6"/>
                  </a:cubicBezTo>
                  <a:cubicBezTo>
                    <a:pt x="391" y="9"/>
                    <a:pt x="387" y="12"/>
                    <a:pt x="383" y="16"/>
                  </a:cubicBezTo>
                  <a:cubicBezTo>
                    <a:pt x="382" y="18"/>
                    <a:pt x="380" y="19"/>
                    <a:pt x="378" y="21"/>
                  </a:cubicBezTo>
                  <a:cubicBezTo>
                    <a:pt x="376" y="23"/>
                    <a:pt x="374" y="25"/>
                    <a:pt x="371" y="27"/>
                  </a:cubicBezTo>
                  <a:cubicBezTo>
                    <a:pt x="367" y="32"/>
                    <a:pt x="362" y="37"/>
                    <a:pt x="356" y="43"/>
                  </a:cubicBezTo>
                  <a:cubicBezTo>
                    <a:pt x="351" y="48"/>
                    <a:pt x="345" y="54"/>
                    <a:pt x="339" y="60"/>
                  </a:cubicBezTo>
                  <a:cubicBezTo>
                    <a:pt x="333" y="66"/>
                    <a:pt x="327" y="73"/>
                    <a:pt x="321" y="80"/>
                  </a:cubicBezTo>
                  <a:cubicBezTo>
                    <a:pt x="315" y="86"/>
                    <a:pt x="308" y="93"/>
                    <a:pt x="302" y="101"/>
                  </a:cubicBezTo>
                  <a:cubicBezTo>
                    <a:pt x="296" y="108"/>
                    <a:pt x="289" y="116"/>
                    <a:pt x="282" y="124"/>
                  </a:cubicBezTo>
                  <a:cubicBezTo>
                    <a:pt x="275" y="131"/>
                    <a:pt x="269" y="140"/>
                    <a:pt x="262" y="148"/>
                  </a:cubicBezTo>
                  <a:cubicBezTo>
                    <a:pt x="255" y="157"/>
                    <a:pt x="248" y="165"/>
                    <a:pt x="241" y="174"/>
                  </a:cubicBezTo>
                  <a:cubicBezTo>
                    <a:pt x="234" y="183"/>
                    <a:pt x="227" y="193"/>
                    <a:pt x="220" y="202"/>
                  </a:cubicBezTo>
                  <a:cubicBezTo>
                    <a:pt x="216" y="207"/>
                    <a:pt x="213" y="211"/>
                    <a:pt x="210" y="216"/>
                  </a:cubicBezTo>
                  <a:close/>
                  <a:moveTo>
                    <a:pt x="210" y="216"/>
                  </a:moveTo>
                  <a:cubicBezTo>
                    <a:pt x="210" y="216"/>
                    <a:pt x="210" y="216"/>
                    <a:pt x="210" y="2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5" name="Freeform 31">
              <a:extLst>
                <a:ext uri="{FF2B5EF4-FFF2-40B4-BE49-F238E27FC236}">
                  <a16:creationId xmlns:a16="http://schemas.microsoft.com/office/drawing/2014/main" id="{0C77F3DB-DC0E-3A40-92B0-AEBBA4E419A5}"/>
                </a:ext>
              </a:extLst>
            </p:cNvPr>
            <p:cNvSpPr>
              <a:spLocks noEditPoints="1"/>
            </p:cNvSpPr>
            <p:nvPr/>
          </p:nvSpPr>
          <p:spPr bwMode="auto">
            <a:xfrm>
              <a:off x="1441450" y="2890838"/>
              <a:ext cx="28575" cy="101600"/>
            </a:xfrm>
            <a:custGeom>
              <a:avLst/>
              <a:gdLst>
                <a:gd name="T0" fmla="*/ 29 w 172"/>
                <a:gd name="T1" fmla="*/ 28 h 609"/>
                <a:gd name="T2" fmla="*/ 22 w 172"/>
                <a:gd name="T3" fmla="*/ 64 h 609"/>
                <a:gd name="T4" fmla="*/ 16 w 172"/>
                <a:gd name="T5" fmla="*/ 100 h 609"/>
                <a:gd name="T6" fmla="*/ 8 w 172"/>
                <a:gd name="T7" fmla="*/ 169 h 609"/>
                <a:gd name="T8" fmla="*/ 3 w 172"/>
                <a:gd name="T9" fmla="*/ 232 h 609"/>
                <a:gd name="T10" fmla="*/ 0 w 172"/>
                <a:gd name="T11" fmla="*/ 308 h 609"/>
                <a:gd name="T12" fmla="*/ 0 w 172"/>
                <a:gd name="T13" fmla="*/ 334 h 609"/>
                <a:gd name="T14" fmla="*/ 0 w 172"/>
                <a:gd name="T15" fmla="*/ 360 h 609"/>
                <a:gd name="T16" fmla="*/ 2 w 172"/>
                <a:gd name="T17" fmla="*/ 403 h 609"/>
                <a:gd name="T18" fmla="*/ 2 w 172"/>
                <a:gd name="T19" fmla="*/ 414 h 609"/>
                <a:gd name="T20" fmla="*/ 4 w 172"/>
                <a:gd name="T21" fmla="*/ 437 h 609"/>
                <a:gd name="T22" fmla="*/ 7 w 172"/>
                <a:gd name="T23" fmla="*/ 471 h 609"/>
                <a:gd name="T24" fmla="*/ 9 w 172"/>
                <a:gd name="T25" fmla="*/ 496 h 609"/>
                <a:gd name="T26" fmla="*/ 14 w 172"/>
                <a:gd name="T27" fmla="*/ 535 h 609"/>
                <a:gd name="T28" fmla="*/ 24 w 172"/>
                <a:gd name="T29" fmla="*/ 594 h 609"/>
                <a:gd name="T30" fmla="*/ 40 w 172"/>
                <a:gd name="T31" fmla="*/ 609 h 609"/>
                <a:gd name="T32" fmla="*/ 98 w 172"/>
                <a:gd name="T33" fmla="*/ 592 h 609"/>
                <a:gd name="T34" fmla="*/ 96 w 172"/>
                <a:gd name="T35" fmla="*/ 558 h 609"/>
                <a:gd name="T36" fmla="*/ 95 w 172"/>
                <a:gd name="T37" fmla="*/ 499 h 609"/>
                <a:gd name="T38" fmla="*/ 95 w 172"/>
                <a:gd name="T39" fmla="*/ 483 h 609"/>
                <a:gd name="T40" fmla="*/ 96 w 172"/>
                <a:gd name="T41" fmla="*/ 452 h 609"/>
                <a:gd name="T42" fmla="*/ 97 w 172"/>
                <a:gd name="T43" fmla="*/ 419 h 609"/>
                <a:gd name="T44" fmla="*/ 97 w 172"/>
                <a:gd name="T45" fmla="*/ 413 h 609"/>
                <a:gd name="T46" fmla="*/ 98 w 172"/>
                <a:gd name="T47" fmla="*/ 413 h 609"/>
                <a:gd name="T48" fmla="*/ 98 w 172"/>
                <a:gd name="T49" fmla="*/ 412 h 609"/>
                <a:gd name="T50" fmla="*/ 101 w 172"/>
                <a:gd name="T51" fmla="*/ 371 h 609"/>
                <a:gd name="T52" fmla="*/ 102 w 172"/>
                <a:gd name="T53" fmla="*/ 355 h 609"/>
                <a:gd name="T54" fmla="*/ 106 w 172"/>
                <a:gd name="T55" fmla="*/ 323 h 609"/>
                <a:gd name="T56" fmla="*/ 108 w 172"/>
                <a:gd name="T57" fmla="*/ 307 h 609"/>
                <a:gd name="T58" fmla="*/ 124 w 172"/>
                <a:gd name="T59" fmla="*/ 216 h 609"/>
                <a:gd name="T60" fmla="*/ 142 w 172"/>
                <a:gd name="T61" fmla="*/ 138 h 609"/>
                <a:gd name="T62" fmla="*/ 149 w 172"/>
                <a:gd name="T63" fmla="*/ 116 h 609"/>
                <a:gd name="T64" fmla="*/ 160 w 172"/>
                <a:gd name="T65" fmla="*/ 80 h 609"/>
                <a:gd name="T66" fmla="*/ 169 w 172"/>
                <a:gd name="T67" fmla="*/ 51 h 609"/>
                <a:gd name="T68" fmla="*/ 52 w 172"/>
                <a:gd name="T69" fmla="*/ 2 h 609"/>
                <a:gd name="T70" fmla="*/ 32 w 172"/>
                <a:gd name="T71" fmla="*/ 15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2" h="609">
                  <a:moveTo>
                    <a:pt x="32" y="15"/>
                  </a:moveTo>
                  <a:cubicBezTo>
                    <a:pt x="31" y="18"/>
                    <a:pt x="30" y="23"/>
                    <a:pt x="29" y="28"/>
                  </a:cubicBezTo>
                  <a:cubicBezTo>
                    <a:pt x="28" y="33"/>
                    <a:pt x="27" y="38"/>
                    <a:pt x="26" y="44"/>
                  </a:cubicBezTo>
                  <a:cubicBezTo>
                    <a:pt x="25" y="50"/>
                    <a:pt x="24" y="57"/>
                    <a:pt x="22" y="64"/>
                  </a:cubicBezTo>
                  <a:cubicBezTo>
                    <a:pt x="21" y="72"/>
                    <a:pt x="20" y="79"/>
                    <a:pt x="18" y="87"/>
                  </a:cubicBezTo>
                  <a:cubicBezTo>
                    <a:pt x="18" y="91"/>
                    <a:pt x="17" y="96"/>
                    <a:pt x="16" y="100"/>
                  </a:cubicBezTo>
                  <a:cubicBezTo>
                    <a:pt x="16" y="104"/>
                    <a:pt x="15" y="108"/>
                    <a:pt x="15" y="113"/>
                  </a:cubicBezTo>
                  <a:cubicBezTo>
                    <a:pt x="12" y="130"/>
                    <a:pt x="9" y="149"/>
                    <a:pt x="8" y="169"/>
                  </a:cubicBezTo>
                  <a:cubicBezTo>
                    <a:pt x="7" y="179"/>
                    <a:pt x="6" y="189"/>
                    <a:pt x="5" y="200"/>
                  </a:cubicBezTo>
                  <a:cubicBezTo>
                    <a:pt x="4" y="210"/>
                    <a:pt x="3" y="221"/>
                    <a:pt x="3" y="232"/>
                  </a:cubicBezTo>
                  <a:cubicBezTo>
                    <a:pt x="1" y="253"/>
                    <a:pt x="0" y="276"/>
                    <a:pt x="0" y="299"/>
                  </a:cubicBezTo>
                  <a:cubicBezTo>
                    <a:pt x="0" y="308"/>
                    <a:pt x="0" y="308"/>
                    <a:pt x="0" y="308"/>
                  </a:cubicBezTo>
                  <a:cubicBezTo>
                    <a:pt x="0" y="316"/>
                    <a:pt x="0" y="316"/>
                    <a:pt x="0" y="316"/>
                  </a:cubicBezTo>
                  <a:cubicBezTo>
                    <a:pt x="0" y="322"/>
                    <a:pt x="0" y="328"/>
                    <a:pt x="0" y="334"/>
                  </a:cubicBezTo>
                  <a:cubicBezTo>
                    <a:pt x="0" y="339"/>
                    <a:pt x="0" y="345"/>
                    <a:pt x="0" y="351"/>
                  </a:cubicBezTo>
                  <a:cubicBezTo>
                    <a:pt x="0" y="360"/>
                    <a:pt x="0" y="360"/>
                    <a:pt x="0" y="360"/>
                  </a:cubicBezTo>
                  <a:cubicBezTo>
                    <a:pt x="0" y="368"/>
                    <a:pt x="0" y="368"/>
                    <a:pt x="0" y="368"/>
                  </a:cubicBezTo>
                  <a:cubicBezTo>
                    <a:pt x="1" y="380"/>
                    <a:pt x="1" y="391"/>
                    <a:pt x="2" y="403"/>
                  </a:cubicBezTo>
                  <a:cubicBezTo>
                    <a:pt x="2" y="412"/>
                    <a:pt x="2" y="412"/>
                    <a:pt x="2" y="412"/>
                  </a:cubicBezTo>
                  <a:cubicBezTo>
                    <a:pt x="2" y="414"/>
                    <a:pt x="2" y="414"/>
                    <a:pt x="2" y="414"/>
                  </a:cubicBezTo>
                  <a:cubicBezTo>
                    <a:pt x="2" y="421"/>
                    <a:pt x="2" y="421"/>
                    <a:pt x="2" y="421"/>
                  </a:cubicBezTo>
                  <a:cubicBezTo>
                    <a:pt x="3" y="426"/>
                    <a:pt x="3" y="432"/>
                    <a:pt x="4" y="437"/>
                  </a:cubicBezTo>
                  <a:cubicBezTo>
                    <a:pt x="4" y="443"/>
                    <a:pt x="5" y="448"/>
                    <a:pt x="5" y="454"/>
                  </a:cubicBezTo>
                  <a:cubicBezTo>
                    <a:pt x="5" y="459"/>
                    <a:pt x="6" y="465"/>
                    <a:pt x="7" y="471"/>
                  </a:cubicBezTo>
                  <a:cubicBezTo>
                    <a:pt x="7" y="476"/>
                    <a:pt x="8" y="482"/>
                    <a:pt x="8" y="487"/>
                  </a:cubicBezTo>
                  <a:cubicBezTo>
                    <a:pt x="8" y="490"/>
                    <a:pt x="9" y="493"/>
                    <a:pt x="9" y="496"/>
                  </a:cubicBezTo>
                  <a:cubicBezTo>
                    <a:pt x="9" y="498"/>
                    <a:pt x="10" y="501"/>
                    <a:pt x="10" y="504"/>
                  </a:cubicBezTo>
                  <a:cubicBezTo>
                    <a:pt x="11" y="515"/>
                    <a:pt x="13" y="525"/>
                    <a:pt x="14" y="535"/>
                  </a:cubicBezTo>
                  <a:cubicBezTo>
                    <a:pt x="16" y="546"/>
                    <a:pt x="17" y="556"/>
                    <a:pt x="19" y="565"/>
                  </a:cubicBezTo>
                  <a:cubicBezTo>
                    <a:pt x="20" y="575"/>
                    <a:pt x="22" y="585"/>
                    <a:pt x="24" y="594"/>
                  </a:cubicBezTo>
                  <a:cubicBezTo>
                    <a:pt x="24" y="595"/>
                    <a:pt x="24" y="595"/>
                    <a:pt x="24" y="596"/>
                  </a:cubicBezTo>
                  <a:cubicBezTo>
                    <a:pt x="25" y="604"/>
                    <a:pt x="32" y="609"/>
                    <a:pt x="40" y="609"/>
                  </a:cubicBezTo>
                  <a:cubicBezTo>
                    <a:pt x="82" y="609"/>
                    <a:pt x="82" y="609"/>
                    <a:pt x="82" y="609"/>
                  </a:cubicBezTo>
                  <a:cubicBezTo>
                    <a:pt x="91" y="609"/>
                    <a:pt x="98" y="601"/>
                    <a:pt x="98" y="592"/>
                  </a:cubicBezTo>
                  <a:cubicBezTo>
                    <a:pt x="98" y="590"/>
                    <a:pt x="98" y="587"/>
                    <a:pt x="97" y="585"/>
                  </a:cubicBezTo>
                  <a:cubicBezTo>
                    <a:pt x="97" y="576"/>
                    <a:pt x="96" y="567"/>
                    <a:pt x="96" y="558"/>
                  </a:cubicBezTo>
                  <a:cubicBezTo>
                    <a:pt x="96" y="548"/>
                    <a:pt x="95" y="539"/>
                    <a:pt x="95" y="529"/>
                  </a:cubicBezTo>
                  <a:cubicBezTo>
                    <a:pt x="95" y="519"/>
                    <a:pt x="95" y="509"/>
                    <a:pt x="95" y="499"/>
                  </a:cubicBezTo>
                  <a:cubicBezTo>
                    <a:pt x="95" y="496"/>
                    <a:pt x="95" y="494"/>
                    <a:pt x="95" y="491"/>
                  </a:cubicBezTo>
                  <a:cubicBezTo>
                    <a:pt x="95" y="488"/>
                    <a:pt x="95" y="486"/>
                    <a:pt x="95" y="483"/>
                  </a:cubicBezTo>
                  <a:cubicBezTo>
                    <a:pt x="95" y="478"/>
                    <a:pt x="95" y="473"/>
                    <a:pt x="95" y="468"/>
                  </a:cubicBezTo>
                  <a:cubicBezTo>
                    <a:pt x="95" y="463"/>
                    <a:pt x="96" y="458"/>
                    <a:pt x="96" y="452"/>
                  </a:cubicBezTo>
                  <a:cubicBezTo>
                    <a:pt x="96" y="447"/>
                    <a:pt x="96" y="441"/>
                    <a:pt x="96" y="436"/>
                  </a:cubicBezTo>
                  <a:cubicBezTo>
                    <a:pt x="97" y="430"/>
                    <a:pt x="97" y="425"/>
                    <a:pt x="97" y="419"/>
                  </a:cubicBezTo>
                  <a:cubicBezTo>
                    <a:pt x="97" y="415"/>
                    <a:pt x="97" y="415"/>
                    <a:pt x="97" y="415"/>
                  </a:cubicBezTo>
                  <a:cubicBezTo>
                    <a:pt x="97" y="413"/>
                    <a:pt x="97" y="413"/>
                    <a:pt x="97" y="413"/>
                  </a:cubicBezTo>
                  <a:cubicBezTo>
                    <a:pt x="98" y="413"/>
                    <a:pt x="98" y="413"/>
                    <a:pt x="98" y="413"/>
                  </a:cubicBezTo>
                  <a:cubicBezTo>
                    <a:pt x="98" y="412"/>
                    <a:pt x="98" y="413"/>
                    <a:pt x="98" y="413"/>
                  </a:cubicBezTo>
                  <a:cubicBezTo>
                    <a:pt x="98" y="413"/>
                    <a:pt x="98" y="413"/>
                    <a:pt x="98" y="413"/>
                  </a:cubicBezTo>
                  <a:cubicBezTo>
                    <a:pt x="98" y="412"/>
                    <a:pt x="98" y="412"/>
                    <a:pt x="98" y="412"/>
                  </a:cubicBezTo>
                  <a:cubicBezTo>
                    <a:pt x="98" y="404"/>
                    <a:pt x="98" y="404"/>
                    <a:pt x="98" y="404"/>
                  </a:cubicBezTo>
                  <a:cubicBezTo>
                    <a:pt x="99" y="393"/>
                    <a:pt x="100" y="382"/>
                    <a:pt x="101" y="371"/>
                  </a:cubicBezTo>
                  <a:cubicBezTo>
                    <a:pt x="102" y="363"/>
                    <a:pt x="102" y="363"/>
                    <a:pt x="102" y="363"/>
                  </a:cubicBezTo>
                  <a:cubicBezTo>
                    <a:pt x="102" y="355"/>
                    <a:pt x="102" y="355"/>
                    <a:pt x="102" y="355"/>
                  </a:cubicBezTo>
                  <a:cubicBezTo>
                    <a:pt x="103" y="350"/>
                    <a:pt x="104" y="344"/>
                    <a:pt x="104" y="339"/>
                  </a:cubicBezTo>
                  <a:cubicBezTo>
                    <a:pt x="105" y="334"/>
                    <a:pt x="106" y="328"/>
                    <a:pt x="106" y="323"/>
                  </a:cubicBezTo>
                  <a:cubicBezTo>
                    <a:pt x="107" y="315"/>
                    <a:pt x="107" y="315"/>
                    <a:pt x="107" y="315"/>
                  </a:cubicBezTo>
                  <a:cubicBezTo>
                    <a:pt x="108" y="307"/>
                    <a:pt x="108" y="307"/>
                    <a:pt x="108" y="307"/>
                  </a:cubicBezTo>
                  <a:cubicBezTo>
                    <a:pt x="111" y="286"/>
                    <a:pt x="114" y="265"/>
                    <a:pt x="118" y="246"/>
                  </a:cubicBezTo>
                  <a:cubicBezTo>
                    <a:pt x="120" y="236"/>
                    <a:pt x="122" y="226"/>
                    <a:pt x="124" y="216"/>
                  </a:cubicBezTo>
                  <a:cubicBezTo>
                    <a:pt x="126" y="207"/>
                    <a:pt x="128" y="198"/>
                    <a:pt x="130" y="189"/>
                  </a:cubicBezTo>
                  <a:cubicBezTo>
                    <a:pt x="134" y="171"/>
                    <a:pt x="139" y="154"/>
                    <a:pt x="142" y="138"/>
                  </a:cubicBezTo>
                  <a:cubicBezTo>
                    <a:pt x="143" y="134"/>
                    <a:pt x="144" y="131"/>
                    <a:pt x="145" y="127"/>
                  </a:cubicBezTo>
                  <a:cubicBezTo>
                    <a:pt x="146" y="123"/>
                    <a:pt x="148" y="120"/>
                    <a:pt x="149" y="116"/>
                  </a:cubicBezTo>
                  <a:cubicBezTo>
                    <a:pt x="151" y="110"/>
                    <a:pt x="153" y="103"/>
                    <a:pt x="154" y="97"/>
                  </a:cubicBezTo>
                  <a:cubicBezTo>
                    <a:pt x="156" y="91"/>
                    <a:pt x="158" y="85"/>
                    <a:pt x="160" y="80"/>
                  </a:cubicBezTo>
                  <a:cubicBezTo>
                    <a:pt x="161" y="74"/>
                    <a:pt x="163" y="69"/>
                    <a:pt x="165" y="64"/>
                  </a:cubicBezTo>
                  <a:cubicBezTo>
                    <a:pt x="166" y="59"/>
                    <a:pt x="168" y="55"/>
                    <a:pt x="169" y="51"/>
                  </a:cubicBezTo>
                  <a:cubicBezTo>
                    <a:pt x="172" y="42"/>
                    <a:pt x="167" y="33"/>
                    <a:pt x="158" y="31"/>
                  </a:cubicBezTo>
                  <a:cubicBezTo>
                    <a:pt x="52" y="2"/>
                    <a:pt x="52" y="2"/>
                    <a:pt x="52" y="2"/>
                  </a:cubicBezTo>
                  <a:cubicBezTo>
                    <a:pt x="43" y="0"/>
                    <a:pt x="34" y="6"/>
                    <a:pt x="32" y="15"/>
                  </a:cubicBezTo>
                  <a:close/>
                  <a:moveTo>
                    <a:pt x="32" y="15"/>
                  </a:moveTo>
                  <a:cubicBezTo>
                    <a:pt x="32" y="15"/>
                    <a:pt x="32" y="15"/>
                    <a:pt x="32" y="1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6" name="Freeform 32">
              <a:extLst>
                <a:ext uri="{FF2B5EF4-FFF2-40B4-BE49-F238E27FC236}">
                  <a16:creationId xmlns:a16="http://schemas.microsoft.com/office/drawing/2014/main" id="{51A0DCD7-D9E0-EB4F-82B7-A9C9490E8B79}"/>
                </a:ext>
              </a:extLst>
            </p:cNvPr>
            <p:cNvSpPr>
              <a:spLocks noEditPoints="1"/>
            </p:cNvSpPr>
            <p:nvPr/>
          </p:nvSpPr>
          <p:spPr bwMode="auto">
            <a:xfrm>
              <a:off x="1620838" y="2657475"/>
              <a:ext cx="155575" cy="331788"/>
            </a:xfrm>
            <a:custGeom>
              <a:avLst/>
              <a:gdLst>
                <a:gd name="T0" fmla="*/ 172 w 927"/>
                <a:gd name="T1" fmla="*/ 1957 h 1982"/>
                <a:gd name="T2" fmla="*/ 280 w 927"/>
                <a:gd name="T3" fmla="*/ 1982 h 1982"/>
                <a:gd name="T4" fmla="*/ 500 w 927"/>
                <a:gd name="T5" fmla="*/ 1844 h 1982"/>
                <a:gd name="T6" fmla="*/ 519 w 927"/>
                <a:gd name="T7" fmla="*/ 1792 h 1982"/>
                <a:gd name="T8" fmla="*/ 767 w 927"/>
                <a:gd name="T9" fmla="*/ 714 h 1982"/>
                <a:gd name="T10" fmla="*/ 862 w 927"/>
                <a:gd name="T11" fmla="*/ 304 h 1982"/>
                <a:gd name="T12" fmla="*/ 920 w 927"/>
                <a:gd name="T13" fmla="*/ 50 h 1982"/>
                <a:gd name="T14" fmla="*/ 880 w 927"/>
                <a:gd name="T15" fmla="*/ 0 h 1982"/>
                <a:gd name="T16" fmla="*/ 844 w 927"/>
                <a:gd name="T17" fmla="*/ 23 h 1982"/>
                <a:gd name="T18" fmla="*/ 725 w 927"/>
                <a:gd name="T19" fmla="*/ 267 h 1982"/>
                <a:gd name="T20" fmla="*/ 549 w 927"/>
                <a:gd name="T21" fmla="*/ 626 h 1982"/>
                <a:gd name="T22" fmla="*/ 59 w 927"/>
                <a:gd name="T23" fmla="*/ 1629 h 1982"/>
                <a:gd name="T24" fmla="*/ 172 w 927"/>
                <a:gd name="T25" fmla="*/ 1957 h 1982"/>
                <a:gd name="T26" fmla="*/ 289 w 927"/>
                <a:gd name="T27" fmla="*/ 1610 h 1982"/>
                <a:gd name="T28" fmla="*/ 409 w 927"/>
                <a:gd name="T29" fmla="*/ 1730 h 1982"/>
                <a:gd name="T30" fmla="*/ 289 w 927"/>
                <a:gd name="T31" fmla="*/ 1851 h 1982"/>
                <a:gd name="T32" fmla="*/ 168 w 927"/>
                <a:gd name="T33" fmla="*/ 1730 h 1982"/>
                <a:gd name="T34" fmla="*/ 289 w 927"/>
                <a:gd name="T35" fmla="*/ 1610 h 1982"/>
                <a:gd name="T36" fmla="*/ 289 w 927"/>
                <a:gd name="T37" fmla="*/ 1610 h 1982"/>
                <a:gd name="T38" fmla="*/ 289 w 927"/>
                <a:gd name="T39" fmla="*/ 1610 h 1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27" h="1982">
                  <a:moveTo>
                    <a:pt x="172" y="1957"/>
                  </a:moveTo>
                  <a:cubicBezTo>
                    <a:pt x="207" y="1974"/>
                    <a:pt x="243" y="1982"/>
                    <a:pt x="280" y="1982"/>
                  </a:cubicBezTo>
                  <a:cubicBezTo>
                    <a:pt x="370" y="1982"/>
                    <a:pt x="458" y="1932"/>
                    <a:pt x="500" y="1844"/>
                  </a:cubicBezTo>
                  <a:cubicBezTo>
                    <a:pt x="508" y="1828"/>
                    <a:pt x="515" y="1809"/>
                    <a:pt x="519" y="1792"/>
                  </a:cubicBezTo>
                  <a:cubicBezTo>
                    <a:pt x="767" y="714"/>
                    <a:pt x="767" y="714"/>
                    <a:pt x="767" y="714"/>
                  </a:cubicBezTo>
                  <a:cubicBezTo>
                    <a:pt x="862" y="304"/>
                    <a:pt x="862" y="304"/>
                    <a:pt x="862" y="304"/>
                  </a:cubicBezTo>
                  <a:cubicBezTo>
                    <a:pt x="920" y="50"/>
                    <a:pt x="920" y="50"/>
                    <a:pt x="920" y="50"/>
                  </a:cubicBezTo>
                  <a:cubicBezTo>
                    <a:pt x="927" y="20"/>
                    <a:pt x="904" y="0"/>
                    <a:pt x="880" y="0"/>
                  </a:cubicBezTo>
                  <a:cubicBezTo>
                    <a:pt x="866" y="0"/>
                    <a:pt x="852" y="7"/>
                    <a:pt x="844" y="23"/>
                  </a:cubicBezTo>
                  <a:cubicBezTo>
                    <a:pt x="725" y="267"/>
                    <a:pt x="725" y="267"/>
                    <a:pt x="725" y="267"/>
                  </a:cubicBezTo>
                  <a:cubicBezTo>
                    <a:pt x="549" y="626"/>
                    <a:pt x="549" y="626"/>
                    <a:pt x="549" y="626"/>
                  </a:cubicBezTo>
                  <a:cubicBezTo>
                    <a:pt x="59" y="1629"/>
                    <a:pt x="59" y="1629"/>
                    <a:pt x="59" y="1629"/>
                  </a:cubicBezTo>
                  <a:cubicBezTo>
                    <a:pt x="0" y="1751"/>
                    <a:pt x="50" y="1898"/>
                    <a:pt x="172" y="1957"/>
                  </a:cubicBezTo>
                  <a:close/>
                  <a:moveTo>
                    <a:pt x="289" y="1610"/>
                  </a:moveTo>
                  <a:cubicBezTo>
                    <a:pt x="355" y="1610"/>
                    <a:pt x="409" y="1664"/>
                    <a:pt x="409" y="1730"/>
                  </a:cubicBezTo>
                  <a:cubicBezTo>
                    <a:pt x="409" y="1797"/>
                    <a:pt x="355" y="1851"/>
                    <a:pt x="289" y="1851"/>
                  </a:cubicBezTo>
                  <a:cubicBezTo>
                    <a:pt x="222" y="1851"/>
                    <a:pt x="168" y="1797"/>
                    <a:pt x="168" y="1730"/>
                  </a:cubicBezTo>
                  <a:cubicBezTo>
                    <a:pt x="168" y="1664"/>
                    <a:pt x="222" y="1610"/>
                    <a:pt x="289" y="1610"/>
                  </a:cubicBezTo>
                  <a:close/>
                  <a:moveTo>
                    <a:pt x="289" y="1610"/>
                  </a:moveTo>
                  <a:cubicBezTo>
                    <a:pt x="289" y="1610"/>
                    <a:pt x="289" y="1610"/>
                    <a:pt x="289" y="16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pic>
        <p:nvPicPr>
          <p:cNvPr id="47" name="Picture 46">
            <a:extLst>
              <a:ext uri="{FF2B5EF4-FFF2-40B4-BE49-F238E27FC236}">
                <a16:creationId xmlns:a16="http://schemas.microsoft.com/office/drawing/2014/main" id="{1B518F30-0FA3-4D49-B33C-7DEBB88AECC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685664" y="3377893"/>
            <a:ext cx="565712" cy="565565"/>
          </a:xfrm>
          <a:prstGeom prst="rect">
            <a:avLst/>
          </a:prstGeom>
        </p:spPr>
      </p:pic>
      <p:sp>
        <p:nvSpPr>
          <p:cNvPr id="48" name="Title 1">
            <a:extLst>
              <a:ext uri="{FF2B5EF4-FFF2-40B4-BE49-F238E27FC236}">
                <a16:creationId xmlns:a16="http://schemas.microsoft.com/office/drawing/2014/main" id="{368AC5B3-2241-0046-91BC-6D97DB3D9630}"/>
              </a:ext>
            </a:extLst>
          </p:cNvPr>
          <p:cNvSpPr>
            <a:spLocks noGrp="1"/>
          </p:cNvSpPr>
          <p:nvPr>
            <p:ph type="title"/>
          </p:nvPr>
        </p:nvSpPr>
        <p:spPr>
          <a:xfrm>
            <a:off x="3460865" y="3101837"/>
            <a:ext cx="8730185" cy="638710"/>
          </a:xfrm>
        </p:spPr>
        <p:txBody>
          <a:bodyPr>
            <a:normAutofit/>
          </a:bodyPr>
          <a:lstStyle>
            <a:lvl1pPr algn="ctr">
              <a:defRPr sz="28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635708535"/>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0FEFE0-ACB9-4D4B-BAC5-96D5668521B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5D9BB66-1978-47BD-9DA3-BED59B7C934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7442586D-41F3-4AC1-8A49-C2AD97B619AA}"/>
              </a:ext>
            </a:extLst>
          </p:cNvPr>
          <p:cNvSpPr>
            <a:spLocks noGrp="1"/>
          </p:cNvSpPr>
          <p:nvPr>
            <p:ph type="dt" sz="half" idx="10"/>
          </p:nvPr>
        </p:nvSpPr>
        <p:spPr/>
        <p:txBody>
          <a:bodyPr/>
          <a:lstStyle/>
          <a:p>
            <a:fld id="{3E316B11-C070-45EB-847B-0666F96AFBE7}" type="datetimeFigureOut">
              <a:rPr lang="en-US" smtClean="0"/>
              <a:t>11/1/2018</a:t>
            </a:fld>
            <a:endParaRPr lang="en-US" dirty="0"/>
          </a:p>
        </p:txBody>
      </p:sp>
      <p:sp>
        <p:nvSpPr>
          <p:cNvPr id="5" name="Footer Placeholder 4">
            <a:extLst>
              <a:ext uri="{FF2B5EF4-FFF2-40B4-BE49-F238E27FC236}">
                <a16:creationId xmlns:a16="http://schemas.microsoft.com/office/drawing/2014/main" id="{F0AF833A-5448-4C5E-9209-5B2DEA1512F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DF064DB-3CD2-4BAD-BC6C-B5D0518302D6}"/>
              </a:ext>
            </a:extLst>
          </p:cNvPr>
          <p:cNvSpPr>
            <a:spLocks noGrp="1"/>
          </p:cNvSpPr>
          <p:nvPr>
            <p:ph type="sldNum" sz="quarter" idx="12"/>
          </p:nvPr>
        </p:nvSpPr>
        <p:spPr/>
        <p:txBody>
          <a:bodyPr/>
          <a:lstStyle/>
          <a:p>
            <a:fld id="{E3A441B9-75B9-44B5-89DD-FE49CF310A47}" type="slidenum">
              <a:rPr lang="en-US" smtClean="0"/>
              <a:t>‹#›</a:t>
            </a:fld>
            <a:endParaRPr lang="en-US" dirty="0"/>
          </a:p>
        </p:txBody>
      </p:sp>
    </p:spTree>
    <p:extLst>
      <p:ext uri="{BB962C8B-B14F-4D97-AF65-F5344CB8AC3E}">
        <p14:creationId xmlns:p14="http://schemas.microsoft.com/office/powerpoint/2010/main" val="4007239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57943C-34F3-455E-B982-C07C71F9865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7F26AED-45E5-4BD3-BF66-D33BC2BFFA8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BA39DEC-0487-4C5B-9756-CB16EF99CB5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87A2F67-8345-408A-91F8-819AA787C23B}"/>
              </a:ext>
            </a:extLst>
          </p:cNvPr>
          <p:cNvSpPr>
            <a:spLocks noGrp="1"/>
          </p:cNvSpPr>
          <p:nvPr>
            <p:ph type="dt" sz="half" idx="10"/>
          </p:nvPr>
        </p:nvSpPr>
        <p:spPr/>
        <p:txBody>
          <a:bodyPr/>
          <a:lstStyle/>
          <a:p>
            <a:fld id="{3E316B11-C070-45EB-847B-0666F96AFBE7}" type="datetimeFigureOut">
              <a:rPr lang="en-US" smtClean="0"/>
              <a:t>11/1/2018</a:t>
            </a:fld>
            <a:endParaRPr lang="en-US" dirty="0"/>
          </a:p>
        </p:txBody>
      </p:sp>
      <p:sp>
        <p:nvSpPr>
          <p:cNvPr id="6" name="Footer Placeholder 5">
            <a:extLst>
              <a:ext uri="{FF2B5EF4-FFF2-40B4-BE49-F238E27FC236}">
                <a16:creationId xmlns:a16="http://schemas.microsoft.com/office/drawing/2014/main" id="{01632E11-50DD-4CB2-830B-DBC2723F3BD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4D66575B-4101-4DC0-9046-79849320D217}"/>
              </a:ext>
            </a:extLst>
          </p:cNvPr>
          <p:cNvSpPr>
            <a:spLocks noGrp="1"/>
          </p:cNvSpPr>
          <p:nvPr>
            <p:ph type="sldNum" sz="quarter" idx="12"/>
          </p:nvPr>
        </p:nvSpPr>
        <p:spPr/>
        <p:txBody>
          <a:bodyPr/>
          <a:lstStyle/>
          <a:p>
            <a:fld id="{E3A441B9-75B9-44B5-89DD-FE49CF310A47}" type="slidenum">
              <a:rPr lang="en-US" smtClean="0"/>
              <a:t>‹#›</a:t>
            </a:fld>
            <a:endParaRPr lang="en-US" dirty="0"/>
          </a:p>
        </p:txBody>
      </p:sp>
    </p:spTree>
    <p:extLst>
      <p:ext uri="{BB962C8B-B14F-4D97-AF65-F5344CB8AC3E}">
        <p14:creationId xmlns:p14="http://schemas.microsoft.com/office/powerpoint/2010/main" val="24271548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12B65A-7F45-4A59-B293-CC2EE0955E1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EE8986B-11B7-42EA-A7EB-8E28B48F790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74A0E9BC-5336-4ED2-8ED8-B8A90F9F3333}"/>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9A9C953-521C-45CF-B010-0BB22112982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C3F4DCE5-97C9-4C94-9A3C-347333068284}"/>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55A91FE-BF1D-4BCE-A182-7EA8155354D8}"/>
              </a:ext>
            </a:extLst>
          </p:cNvPr>
          <p:cNvSpPr>
            <a:spLocks noGrp="1"/>
          </p:cNvSpPr>
          <p:nvPr>
            <p:ph type="dt" sz="half" idx="10"/>
          </p:nvPr>
        </p:nvSpPr>
        <p:spPr/>
        <p:txBody>
          <a:bodyPr/>
          <a:lstStyle/>
          <a:p>
            <a:fld id="{3E316B11-C070-45EB-847B-0666F96AFBE7}" type="datetimeFigureOut">
              <a:rPr lang="en-US" smtClean="0"/>
              <a:t>11/1/2018</a:t>
            </a:fld>
            <a:endParaRPr lang="en-US" dirty="0"/>
          </a:p>
        </p:txBody>
      </p:sp>
      <p:sp>
        <p:nvSpPr>
          <p:cNvPr id="8" name="Footer Placeholder 7">
            <a:extLst>
              <a:ext uri="{FF2B5EF4-FFF2-40B4-BE49-F238E27FC236}">
                <a16:creationId xmlns:a16="http://schemas.microsoft.com/office/drawing/2014/main" id="{C032A2E5-374D-47B1-AC04-AE40FCCA0311}"/>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3D23ECAC-C0DD-4585-B3A4-46665B93C072}"/>
              </a:ext>
            </a:extLst>
          </p:cNvPr>
          <p:cNvSpPr>
            <a:spLocks noGrp="1"/>
          </p:cNvSpPr>
          <p:nvPr>
            <p:ph type="sldNum" sz="quarter" idx="12"/>
          </p:nvPr>
        </p:nvSpPr>
        <p:spPr/>
        <p:txBody>
          <a:bodyPr/>
          <a:lstStyle/>
          <a:p>
            <a:fld id="{E3A441B9-75B9-44B5-89DD-FE49CF310A47}" type="slidenum">
              <a:rPr lang="en-US" smtClean="0"/>
              <a:t>‹#›</a:t>
            </a:fld>
            <a:endParaRPr lang="en-US" dirty="0"/>
          </a:p>
        </p:txBody>
      </p:sp>
    </p:spTree>
    <p:extLst>
      <p:ext uri="{BB962C8B-B14F-4D97-AF65-F5344CB8AC3E}">
        <p14:creationId xmlns:p14="http://schemas.microsoft.com/office/powerpoint/2010/main" val="10056095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279131-E30D-4534-BBFA-96E120CA4AB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9633B44-D7AD-4230-8EA7-4F14E215C432}"/>
              </a:ext>
            </a:extLst>
          </p:cNvPr>
          <p:cNvSpPr>
            <a:spLocks noGrp="1"/>
          </p:cNvSpPr>
          <p:nvPr>
            <p:ph type="dt" sz="half" idx="10"/>
          </p:nvPr>
        </p:nvSpPr>
        <p:spPr/>
        <p:txBody>
          <a:bodyPr/>
          <a:lstStyle/>
          <a:p>
            <a:fld id="{3E316B11-C070-45EB-847B-0666F96AFBE7}" type="datetimeFigureOut">
              <a:rPr lang="en-US" smtClean="0"/>
              <a:t>11/1/2018</a:t>
            </a:fld>
            <a:endParaRPr lang="en-US" dirty="0"/>
          </a:p>
        </p:txBody>
      </p:sp>
      <p:sp>
        <p:nvSpPr>
          <p:cNvPr id="4" name="Footer Placeholder 3">
            <a:extLst>
              <a:ext uri="{FF2B5EF4-FFF2-40B4-BE49-F238E27FC236}">
                <a16:creationId xmlns:a16="http://schemas.microsoft.com/office/drawing/2014/main" id="{01C9B77B-DCEC-4E12-A548-8EFE30BFDED4}"/>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03834CC3-02C4-4093-B304-EB276B2475EE}"/>
              </a:ext>
            </a:extLst>
          </p:cNvPr>
          <p:cNvSpPr>
            <a:spLocks noGrp="1"/>
          </p:cNvSpPr>
          <p:nvPr>
            <p:ph type="sldNum" sz="quarter" idx="12"/>
          </p:nvPr>
        </p:nvSpPr>
        <p:spPr/>
        <p:txBody>
          <a:bodyPr/>
          <a:lstStyle/>
          <a:p>
            <a:fld id="{E3A441B9-75B9-44B5-89DD-FE49CF310A47}" type="slidenum">
              <a:rPr lang="en-US" smtClean="0"/>
              <a:t>‹#›</a:t>
            </a:fld>
            <a:endParaRPr lang="en-US" dirty="0"/>
          </a:p>
        </p:txBody>
      </p:sp>
    </p:spTree>
    <p:extLst>
      <p:ext uri="{BB962C8B-B14F-4D97-AF65-F5344CB8AC3E}">
        <p14:creationId xmlns:p14="http://schemas.microsoft.com/office/powerpoint/2010/main" val="18356650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DF71B5B-38C6-46E8-8C1A-E8C62F50A50A}"/>
              </a:ext>
            </a:extLst>
          </p:cNvPr>
          <p:cNvSpPr>
            <a:spLocks noGrp="1"/>
          </p:cNvSpPr>
          <p:nvPr>
            <p:ph type="dt" sz="half" idx="10"/>
          </p:nvPr>
        </p:nvSpPr>
        <p:spPr/>
        <p:txBody>
          <a:bodyPr/>
          <a:lstStyle/>
          <a:p>
            <a:fld id="{3E316B11-C070-45EB-847B-0666F96AFBE7}" type="datetimeFigureOut">
              <a:rPr lang="en-US" smtClean="0"/>
              <a:t>11/1/2018</a:t>
            </a:fld>
            <a:endParaRPr lang="en-US" dirty="0"/>
          </a:p>
        </p:txBody>
      </p:sp>
      <p:sp>
        <p:nvSpPr>
          <p:cNvPr id="3" name="Footer Placeholder 2">
            <a:extLst>
              <a:ext uri="{FF2B5EF4-FFF2-40B4-BE49-F238E27FC236}">
                <a16:creationId xmlns:a16="http://schemas.microsoft.com/office/drawing/2014/main" id="{6AEA273F-2942-4293-9C92-DD93261BD72A}"/>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3BF4FAB1-3C95-4BDB-9ADA-C35D947B9346}"/>
              </a:ext>
            </a:extLst>
          </p:cNvPr>
          <p:cNvSpPr>
            <a:spLocks noGrp="1"/>
          </p:cNvSpPr>
          <p:nvPr>
            <p:ph type="sldNum" sz="quarter" idx="12"/>
          </p:nvPr>
        </p:nvSpPr>
        <p:spPr/>
        <p:txBody>
          <a:bodyPr/>
          <a:lstStyle/>
          <a:p>
            <a:fld id="{E3A441B9-75B9-44B5-89DD-FE49CF310A47}" type="slidenum">
              <a:rPr lang="en-US" smtClean="0"/>
              <a:t>‹#›</a:t>
            </a:fld>
            <a:endParaRPr lang="en-US" dirty="0"/>
          </a:p>
        </p:txBody>
      </p:sp>
    </p:spTree>
    <p:extLst>
      <p:ext uri="{BB962C8B-B14F-4D97-AF65-F5344CB8AC3E}">
        <p14:creationId xmlns:p14="http://schemas.microsoft.com/office/powerpoint/2010/main" val="19030407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0DADB6-D1DD-4E87-A4CD-74FF64B4F49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4443890-1EFB-4DBA-AF93-292136773BD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F54D500-85DF-4E14-92D1-DBC3ECA4FD8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28FC7FC9-C332-491D-B6BE-C56C01A7CEC6}"/>
              </a:ext>
            </a:extLst>
          </p:cNvPr>
          <p:cNvSpPr>
            <a:spLocks noGrp="1"/>
          </p:cNvSpPr>
          <p:nvPr>
            <p:ph type="dt" sz="half" idx="10"/>
          </p:nvPr>
        </p:nvSpPr>
        <p:spPr/>
        <p:txBody>
          <a:bodyPr/>
          <a:lstStyle/>
          <a:p>
            <a:fld id="{3E316B11-C070-45EB-847B-0666F96AFBE7}" type="datetimeFigureOut">
              <a:rPr lang="en-US" smtClean="0"/>
              <a:t>11/1/2018</a:t>
            </a:fld>
            <a:endParaRPr lang="en-US" dirty="0"/>
          </a:p>
        </p:txBody>
      </p:sp>
      <p:sp>
        <p:nvSpPr>
          <p:cNvPr id="6" name="Footer Placeholder 5">
            <a:extLst>
              <a:ext uri="{FF2B5EF4-FFF2-40B4-BE49-F238E27FC236}">
                <a16:creationId xmlns:a16="http://schemas.microsoft.com/office/drawing/2014/main" id="{30AA0825-9E9F-40CC-9BDB-E42C2FFB1776}"/>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4CF0F841-718C-4033-BFBA-3A02D10B8390}"/>
              </a:ext>
            </a:extLst>
          </p:cNvPr>
          <p:cNvSpPr>
            <a:spLocks noGrp="1"/>
          </p:cNvSpPr>
          <p:nvPr>
            <p:ph type="sldNum" sz="quarter" idx="12"/>
          </p:nvPr>
        </p:nvSpPr>
        <p:spPr/>
        <p:txBody>
          <a:bodyPr/>
          <a:lstStyle/>
          <a:p>
            <a:fld id="{E3A441B9-75B9-44B5-89DD-FE49CF310A47}" type="slidenum">
              <a:rPr lang="en-US" smtClean="0"/>
              <a:t>‹#›</a:t>
            </a:fld>
            <a:endParaRPr lang="en-US" dirty="0"/>
          </a:p>
        </p:txBody>
      </p:sp>
    </p:spTree>
    <p:extLst>
      <p:ext uri="{BB962C8B-B14F-4D97-AF65-F5344CB8AC3E}">
        <p14:creationId xmlns:p14="http://schemas.microsoft.com/office/powerpoint/2010/main" val="39943832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61A991-009F-4A6E-AF78-BF5086A15D0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FC530D8-3ADA-4E51-8880-26F23CDD28B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A6CFC80B-8D77-40FF-9D71-5E9D7F43B1B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26F6B57-0EFC-4ED1-88C3-D8FCAFDAD98A}"/>
              </a:ext>
            </a:extLst>
          </p:cNvPr>
          <p:cNvSpPr>
            <a:spLocks noGrp="1"/>
          </p:cNvSpPr>
          <p:nvPr>
            <p:ph type="dt" sz="half" idx="10"/>
          </p:nvPr>
        </p:nvSpPr>
        <p:spPr/>
        <p:txBody>
          <a:bodyPr/>
          <a:lstStyle/>
          <a:p>
            <a:fld id="{3E316B11-C070-45EB-847B-0666F96AFBE7}" type="datetimeFigureOut">
              <a:rPr lang="en-US" smtClean="0"/>
              <a:t>11/1/2018</a:t>
            </a:fld>
            <a:endParaRPr lang="en-US" dirty="0"/>
          </a:p>
        </p:txBody>
      </p:sp>
      <p:sp>
        <p:nvSpPr>
          <p:cNvPr id="6" name="Footer Placeholder 5">
            <a:extLst>
              <a:ext uri="{FF2B5EF4-FFF2-40B4-BE49-F238E27FC236}">
                <a16:creationId xmlns:a16="http://schemas.microsoft.com/office/drawing/2014/main" id="{03AD9FCD-FBF1-4D7A-BFFF-6A5AC8F713A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21BD91B6-11E4-4245-AC60-D16AA2E44E74}"/>
              </a:ext>
            </a:extLst>
          </p:cNvPr>
          <p:cNvSpPr>
            <a:spLocks noGrp="1"/>
          </p:cNvSpPr>
          <p:nvPr>
            <p:ph type="sldNum" sz="quarter" idx="12"/>
          </p:nvPr>
        </p:nvSpPr>
        <p:spPr/>
        <p:txBody>
          <a:bodyPr/>
          <a:lstStyle/>
          <a:p>
            <a:fld id="{E3A441B9-75B9-44B5-89DD-FE49CF310A47}" type="slidenum">
              <a:rPr lang="en-US" smtClean="0"/>
              <a:t>‹#›</a:t>
            </a:fld>
            <a:endParaRPr lang="en-US" dirty="0"/>
          </a:p>
        </p:txBody>
      </p:sp>
    </p:spTree>
    <p:extLst>
      <p:ext uri="{BB962C8B-B14F-4D97-AF65-F5344CB8AC3E}">
        <p14:creationId xmlns:p14="http://schemas.microsoft.com/office/powerpoint/2010/main" val="19293508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2.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81142AF-0995-4D9C-B5B9-3DAEFA60FE1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842FEB9-5530-4794-ACE9-9C609543786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8DDD7B-4588-445C-B4D6-9B9193D12D6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E316B11-C070-45EB-847B-0666F96AFBE7}" type="datetimeFigureOut">
              <a:rPr lang="en-US" smtClean="0"/>
              <a:t>11/1/2018</a:t>
            </a:fld>
            <a:endParaRPr lang="en-US" dirty="0"/>
          </a:p>
        </p:txBody>
      </p:sp>
      <p:sp>
        <p:nvSpPr>
          <p:cNvPr id="5" name="Footer Placeholder 4">
            <a:extLst>
              <a:ext uri="{FF2B5EF4-FFF2-40B4-BE49-F238E27FC236}">
                <a16:creationId xmlns:a16="http://schemas.microsoft.com/office/drawing/2014/main" id="{D5FC997B-B549-42A8-A370-81CE011EABE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8EB19C5D-46CA-4287-B5B5-3BF1085A2E9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A441B9-75B9-44B5-89DD-FE49CF310A47}" type="slidenum">
              <a:rPr lang="en-US" smtClean="0"/>
              <a:t>‹#›</a:t>
            </a:fld>
            <a:endParaRPr lang="en-US" dirty="0"/>
          </a:p>
        </p:txBody>
      </p:sp>
    </p:spTree>
    <p:extLst>
      <p:ext uri="{BB962C8B-B14F-4D97-AF65-F5344CB8AC3E}">
        <p14:creationId xmlns:p14="http://schemas.microsoft.com/office/powerpoint/2010/main" val="253225187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2" r:id="rId13"/>
    <p:sldLayoutId id="2147483695" r:id="rId14"/>
    <p:sldLayoutId id="2147483676" r:id="rId15"/>
    <p:sldLayoutId id="2147483697"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Shape 2"/>
          <p:cNvSpPr>
            <a:spLocks noGrp="1"/>
          </p:cNvSpPr>
          <p:nvPr>
            <p:ph type="title"/>
          </p:nvPr>
        </p:nvSpPr>
        <p:spPr>
          <a:xfrm>
            <a:off x="431151" y="274642"/>
            <a:ext cx="11151250" cy="638710"/>
          </a:xfrm>
          <a:prstGeom prst="rect">
            <a:avLst/>
          </a:prstGeom>
          <a:ln w="12700">
            <a:miter lim="400000"/>
          </a:ln>
          <a:extLst>
            <a:ext uri="{C572A759-6A51-4108-AA02-DFA0A04FC94B}">
              <ma14:wrappingTextBoxFlag xmlns="" xmlns:ma14="http://schemas.microsoft.com/office/mac/drawingml/2011/main" val="1"/>
            </a:ext>
          </a:extLst>
        </p:spPr>
        <p:txBody>
          <a:bodyPr lIns="91424" tIns="91424" rIns="91424" bIns="91424" anchor="b">
            <a:normAutofit/>
          </a:bodyPr>
          <a:lstStyle/>
          <a:p>
            <a:r>
              <a:t>Title Text</a:t>
            </a:r>
          </a:p>
        </p:txBody>
      </p:sp>
      <p:sp>
        <p:nvSpPr>
          <p:cNvPr id="31" name="Footer Placeholder 22"/>
          <p:cNvSpPr>
            <a:spLocks noGrp="1"/>
          </p:cNvSpPr>
          <p:nvPr>
            <p:ph type="ftr" sz="quarter" idx="3"/>
          </p:nvPr>
        </p:nvSpPr>
        <p:spPr>
          <a:xfrm>
            <a:off x="4038067" y="6484947"/>
            <a:ext cx="4115872" cy="364483"/>
          </a:xfrm>
          <a:prstGeom prst="rect">
            <a:avLst/>
          </a:prstGeom>
        </p:spPr>
        <p:txBody>
          <a:bodyPr vert="horz" lIns="91440" tIns="45720" rIns="91440" bIns="45720" rtlCol="0" anchor="ctr"/>
          <a:lstStyle>
            <a:lvl1pPr marL="0" marR="0" indent="0" algn="ctr" defTabSz="1097435" rtl="0" eaLnBrk="1" fontAlgn="auto" latinLnBrk="0" hangingPunct="0">
              <a:lnSpc>
                <a:spcPct val="100000"/>
              </a:lnSpc>
              <a:spcBef>
                <a:spcPts val="0"/>
              </a:spcBef>
              <a:spcAft>
                <a:spcPts val="0"/>
              </a:spcAft>
              <a:buClrTx/>
              <a:buSzTx/>
              <a:buFontTx/>
              <a:buNone/>
              <a:tabLst/>
              <a:defRPr sz="1080" b="0" i="0">
                <a:solidFill>
                  <a:schemeClr val="tx1"/>
                </a:solidFill>
                <a:latin typeface="Lato Light" charset="0"/>
                <a:ea typeface="Lato Light" charset="0"/>
                <a:cs typeface="Lato Light" charset="0"/>
              </a:defRPr>
            </a:lvl1pPr>
          </a:lstStyle>
          <a:p>
            <a:r>
              <a:rPr lang="en-US" kern="0" dirty="0">
                <a:solidFill>
                  <a:srgbClr val="000000"/>
                </a:solidFill>
                <a:sym typeface="Arial"/>
              </a:rPr>
              <a:t>© 2018 Innominds — All rights reserved — Confidential</a:t>
            </a:r>
          </a:p>
        </p:txBody>
      </p:sp>
      <p:sp>
        <p:nvSpPr>
          <p:cNvPr id="32" name="Slide Number Placeholder 23"/>
          <p:cNvSpPr>
            <a:spLocks noGrp="1"/>
          </p:cNvSpPr>
          <p:nvPr>
            <p:ph type="sldNum" sz="quarter" idx="4"/>
          </p:nvPr>
        </p:nvSpPr>
        <p:spPr>
          <a:xfrm>
            <a:off x="11582400" y="6538542"/>
            <a:ext cx="457319" cy="246991"/>
          </a:xfrm>
          <a:prstGeom prst="rect">
            <a:avLst/>
          </a:prstGeom>
          <a:solidFill>
            <a:srgbClr val="E94924"/>
          </a:solidFill>
        </p:spPr>
        <p:txBody>
          <a:bodyPr vert="horz" lIns="91440" tIns="45720" rIns="91440" bIns="45720" rtlCol="0" anchor="ctr"/>
          <a:lstStyle>
            <a:lvl1pPr algn="ctr">
              <a:defRPr sz="1080" b="1" i="0">
                <a:solidFill>
                  <a:schemeClr val="bg1"/>
                </a:solidFill>
                <a:latin typeface="Lato Black" charset="0"/>
                <a:ea typeface="Lato Black" charset="0"/>
                <a:cs typeface="Lato Black" charset="0"/>
              </a:defRPr>
            </a:lvl1pPr>
          </a:lstStyle>
          <a:p>
            <a:pPr defTabSz="1218804" hangingPunct="0"/>
            <a:fld id="{F0067498-725B-A047-B251-570128809069}" type="slidenum">
              <a:rPr lang="en-US" kern="0" smtClean="0">
                <a:solidFill>
                  <a:srgbClr val="FFFFFF"/>
                </a:solidFill>
                <a:sym typeface="Arial"/>
              </a:rPr>
              <a:pPr defTabSz="1218804" hangingPunct="0"/>
              <a:t>‹#›</a:t>
            </a:fld>
            <a:endParaRPr lang="en-US" kern="0" dirty="0">
              <a:solidFill>
                <a:srgbClr val="FFFFFF"/>
              </a:solidFill>
              <a:sym typeface="Arial"/>
            </a:endParaRPr>
          </a:p>
        </p:txBody>
      </p:sp>
      <p:sp>
        <p:nvSpPr>
          <p:cNvPr id="37" name="Text Placeholder 36"/>
          <p:cNvSpPr>
            <a:spLocks noGrp="1"/>
          </p:cNvSpPr>
          <p:nvPr>
            <p:ph type="body" idx="1"/>
          </p:nvPr>
        </p:nvSpPr>
        <p:spPr>
          <a:xfrm>
            <a:off x="431150" y="1466510"/>
            <a:ext cx="11151250" cy="471112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3063073"/>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70" r:id="rId6"/>
    <p:sldLayoutId id="2147483671" r:id="rId7"/>
    <p:sldLayoutId id="2147483672" r:id="rId8"/>
    <p:sldLayoutId id="2147483673" r:id="rId9"/>
    <p:sldLayoutId id="2147483674" r:id="rId10"/>
    <p:sldLayoutId id="2147483675" r:id="rId11"/>
  </p:sldLayoutIdLst>
  <p:transition spd="med"/>
  <p:hf sldNum="0" hdr="0" dt="0"/>
  <p:txStyles>
    <p:titleStyle>
      <a:lvl1pPr marL="0" marR="0" indent="0" algn="l" defTabSz="1097331" rtl="0" eaLnBrk="1" latinLnBrk="0" hangingPunct="1">
        <a:lnSpc>
          <a:spcPct val="100000"/>
        </a:lnSpc>
        <a:spcBef>
          <a:spcPts val="0"/>
        </a:spcBef>
        <a:spcAft>
          <a:spcPts val="0"/>
        </a:spcAft>
        <a:buClrTx/>
        <a:buSzTx/>
        <a:buFontTx/>
        <a:buNone/>
        <a:tabLst/>
        <a:defRPr sz="2881" b="0" i="0" u="none" strike="noStrike" cap="none" spc="0" baseline="0">
          <a:ln>
            <a:noFill/>
          </a:ln>
          <a:solidFill>
            <a:srgbClr val="000000"/>
          </a:solidFill>
          <a:uFillTx/>
          <a:latin typeface="Lato Light" charset="0"/>
          <a:ea typeface="Lato Light" charset="0"/>
          <a:cs typeface="Lato Light" charset="0"/>
          <a:sym typeface="Arial"/>
        </a:defRPr>
      </a:lvl1pPr>
      <a:lvl2pPr marL="0" marR="0" indent="0" algn="l" defTabSz="1097331" rtl="0" eaLnBrk="1" latinLnBrk="0" hangingPunct="1">
        <a:lnSpc>
          <a:spcPct val="100000"/>
        </a:lnSpc>
        <a:spcBef>
          <a:spcPts val="0"/>
        </a:spcBef>
        <a:spcAft>
          <a:spcPts val="0"/>
        </a:spcAft>
        <a:buClrTx/>
        <a:buSzTx/>
        <a:buFontTx/>
        <a:buNone/>
        <a:tabLst/>
        <a:defRPr sz="4320" b="1" i="0" u="none" strike="noStrike" cap="none" spc="0" baseline="0">
          <a:ln>
            <a:noFill/>
          </a:ln>
          <a:solidFill>
            <a:srgbClr val="000000"/>
          </a:solidFill>
          <a:uFillTx/>
          <a:latin typeface="+mn-lt"/>
          <a:ea typeface="+mn-ea"/>
          <a:cs typeface="+mn-cs"/>
          <a:sym typeface="Arial"/>
        </a:defRPr>
      </a:lvl2pPr>
      <a:lvl3pPr marL="0" marR="0" indent="0" algn="l" defTabSz="1097331" rtl="0" eaLnBrk="1" latinLnBrk="0" hangingPunct="1">
        <a:lnSpc>
          <a:spcPct val="100000"/>
        </a:lnSpc>
        <a:spcBef>
          <a:spcPts val="0"/>
        </a:spcBef>
        <a:spcAft>
          <a:spcPts val="0"/>
        </a:spcAft>
        <a:buClrTx/>
        <a:buSzTx/>
        <a:buFontTx/>
        <a:buNone/>
        <a:tabLst/>
        <a:defRPr sz="4320" b="1" i="0" u="none" strike="noStrike" cap="none" spc="0" baseline="0">
          <a:ln>
            <a:noFill/>
          </a:ln>
          <a:solidFill>
            <a:srgbClr val="000000"/>
          </a:solidFill>
          <a:uFillTx/>
          <a:latin typeface="+mn-lt"/>
          <a:ea typeface="+mn-ea"/>
          <a:cs typeface="+mn-cs"/>
          <a:sym typeface="Arial"/>
        </a:defRPr>
      </a:lvl3pPr>
      <a:lvl4pPr marL="0" marR="0" indent="0" algn="l" defTabSz="1097331" rtl="0" eaLnBrk="1" latinLnBrk="0" hangingPunct="1">
        <a:lnSpc>
          <a:spcPct val="100000"/>
        </a:lnSpc>
        <a:spcBef>
          <a:spcPts val="0"/>
        </a:spcBef>
        <a:spcAft>
          <a:spcPts val="0"/>
        </a:spcAft>
        <a:buClrTx/>
        <a:buSzTx/>
        <a:buFontTx/>
        <a:buNone/>
        <a:tabLst/>
        <a:defRPr sz="4320" b="1" i="0" u="none" strike="noStrike" cap="none" spc="0" baseline="0">
          <a:ln>
            <a:noFill/>
          </a:ln>
          <a:solidFill>
            <a:srgbClr val="000000"/>
          </a:solidFill>
          <a:uFillTx/>
          <a:latin typeface="+mn-lt"/>
          <a:ea typeface="+mn-ea"/>
          <a:cs typeface="+mn-cs"/>
          <a:sym typeface="Arial"/>
        </a:defRPr>
      </a:lvl4pPr>
      <a:lvl5pPr marL="0" marR="0" indent="0" algn="l" defTabSz="1097331" rtl="0" eaLnBrk="1" latinLnBrk="0" hangingPunct="1">
        <a:lnSpc>
          <a:spcPct val="100000"/>
        </a:lnSpc>
        <a:spcBef>
          <a:spcPts val="0"/>
        </a:spcBef>
        <a:spcAft>
          <a:spcPts val="0"/>
        </a:spcAft>
        <a:buClrTx/>
        <a:buSzTx/>
        <a:buFontTx/>
        <a:buNone/>
        <a:tabLst/>
        <a:defRPr sz="4320" b="1" i="0" u="none" strike="noStrike" cap="none" spc="0" baseline="0">
          <a:ln>
            <a:noFill/>
          </a:ln>
          <a:solidFill>
            <a:srgbClr val="000000"/>
          </a:solidFill>
          <a:uFillTx/>
          <a:latin typeface="+mn-lt"/>
          <a:ea typeface="+mn-ea"/>
          <a:cs typeface="+mn-cs"/>
          <a:sym typeface="Arial"/>
        </a:defRPr>
      </a:lvl5pPr>
      <a:lvl6pPr marL="0" marR="0" indent="0" algn="l" defTabSz="1097331" rtl="0" eaLnBrk="1" latinLnBrk="0" hangingPunct="1">
        <a:lnSpc>
          <a:spcPct val="100000"/>
        </a:lnSpc>
        <a:spcBef>
          <a:spcPts val="0"/>
        </a:spcBef>
        <a:spcAft>
          <a:spcPts val="0"/>
        </a:spcAft>
        <a:buClrTx/>
        <a:buSzTx/>
        <a:buFontTx/>
        <a:buNone/>
        <a:tabLst/>
        <a:defRPr sz="4320" b="1" i="0" u="none" strike="noStrike" cap="none" spc="0" baseline="0">
          <a:ln>
            <a:noFill/>
          </a:ln>
          <a:solidFill>
            <a:srgbClr val="000000"/>
          </a:solidFill>
          <a:uFillTx/>
          <a:latin typeface="+mn-lt"/>
          <a:ea typeface="+mn-ea"/>
          <a:cs typeface="+mn-cs"/>
          <a:sym typeface="Arial"/>
        </a:defRPr>
      </a:lvl6pPr>
      <a:lvl7pPr marL="0" marR="0" indent="0" algn="l" defTabSz="1097331" rtl="0" eaLnBrk="1" latinLnBrk="0" hangingPunct="1">
        <a:lnSpc>
          <a:spcPct val="100000"/>
        </a:lnSpc>
        <a:spcBef>
          <a:spcPts val="0"/>
        </a:spcBef>
        <a:spcAft>
          <a:spcPts val="0"/>
        </a:spcAft>
        <a:buClrTx/>
        <a:buSzTx/>
        <a:buFontTx/>
        <a:buNone/>
        <a:tabLst/>
        <a:defRPr sz="4320" b="1" i="0" u="none" strike="noStrike" cap="none" spc="0" baseline="0">
          <a:ln>
            <a:noFill/>
          </a:ln>
          <a:solidFill>
            <a:srgbClr val="000000"/>
          </a:solidFill>
          <a:uFillTx/>
          <a:latin typeface="+mn-lt"/>
          <a:ea typeface="+mn-ea"/>
          <a:cs typeface="+mn-cs"/>
          <a:sym typeface="Arial"/>
        </a:defRPr>
      </a:lvl7pPr>
      <a:lvl8pPr marL="0" marR="0" indent="0" algn="l" defTabSz="1097331" rtl="0" eaLnBrk="1" latinLnBrk="0" hangingPunct="1">
        <a:lnSpc>
          <a:spcPct val="100000"/>
        </a:lnSpc>
        <a:spcBef>
          <a:spcPts val="0"/>
        </a:spcBef>
        <a:spcAft>
          <a:spcPts val="0"/>
        </a:spcAft>
        <a:buClrTx/>
        <a:buSzTx/>
        <a:buFontTx/>
        <a:buNone/>
        <a:tabLst/>
        <a:defRPr sz="4320" b="1" i="0" u="none" strike="noStrike" cap="none" spc="0" baseline="0">
          <a:ln>
            <a:noFill/>
          </a:ln>
          <a:solidFill>
            <a:srgbClr val="000000"/>
          </a:solidFill>
          <a:uFillTx/>
          <a:latin typeface="+mn-lt"/>
          <a:ea typeface="+mn-ea"/>
          <a:cs typeface="+mn-cs"/>
          <a:sym typeface="Arial"/>
        </a:defRPr>
      </a:lvl8pPr>
      <a:lvl9pPr marL="0" marR="0" indent="0" algn="l" defTabSz="1097331" rtl="0" eaLnBrk="1" latinLnBrk="0" hangingPunct="1">
        <a:lnSpc>
          <a:spcPct val="100000"/>
        </a:lnSpc>
        <a:spcBef>
          <a:spcPts val="0"/>
        </a:spcBef>
        <a:spcAft>
          <a:spcPts val="0"/>
        </a:spcAft>
        <a:buClrTx/>
        <a:buSzTx/>
        <a:buFontTx/>
        <a:buNone/>
        <a:tabLst/>
        <a:defRPr sz="4320" b="1" i="0" u="none" strike="noStrike" cap="none" spc="0" baseline="0">
          <a:ln>
            <a:noFill/>
          </a:ln>
          <a:solidFill>
            <a:srgbClr val="000000"/>
          </a:solidFill>
          <a:uFillTx/>
          <a:latin typeface="+mn-lt"/>
          <a:ea typeface="+mn-ea"/>
          <a:cs typeface="+mn-cs"/>
          <a:sym typeface="Arial"/>
        </a:defRPr>
      </a:lvl9pPr>
    </p:titleStyle>
    <p:bodyStyle>
      <a:lvl1pPr marL="257296" marR="0" indent="-257296" algn="l" defTabSz="1097331" rtl="0" eaLnBrk="1" fontAlgn="auto" latinLnBrk="0" hangingPunct="1">
        <a:lnSpc>
          <a:spcPct val="100000"/>
        </a:lnSpc>
        <a:spcBef>
          <a:spcPts val="720"/>
        </a:spcBef>
        <a:spcAft>
          <a:spcPts val="0"/>
        </a:spcAft>
        <a:buClrTx/>
        <a:buSzTx/>
        <a:buFont typeface="LucidaGrande" charset="0"/>
        <a:buChar char="⇢"/>
        <a:tabLst/>
        <a:defRPr sz="1621" b="0" i="0" u="none" strike="noStrike" cap="none" spc="0" baseline="0">
          <a:ln>
            <a:noFill/>
          </a:ln>
          <a:solidFill>
            <a:srgbClr val="000000"/>
          </a:solidFill>
          <a:uFillTx/>
          <a:latin typeface="Lato" charset="0"/>
          <a:ea typeface="Lato" charset="0"/>
          <a:cs typeface="Lato" charset="0"/>
          <a:sym typeface="Arial"/>
        </a:defRPr>
      </a:lvl1pPr>
      <a:lvl2pPr marL="468848" marR="0" indent="-202976" algn="l" defTabSz="1097331" rtl="0" eaLnBrk="1" fontAlgn="auto" latinLnBrk="0" hangingPunct="1">
        <a:lnSpc>
          <a:spcPct val="100000"/>
        </a:lnSpc>
        <a:spcBef>
          <a:spcPts val="720"/>
        </a:spcBef>
        <a:spcAft>
          <a:spcPts val="0"/>
        </a:spcAft>
        <a:buClrTx/>
        <a:buSzTx/>
        <a:buFont typeface="Arial" charset="0"/>
        <a:buChar char="•"/>
        <a:tabLst/>
        <a:defRPr sz="1441" b="0" i="0" u="none" strike="noStrike" cap="none" spc="0" baseline="0">
          <a:ln>
            <a:noFill/>
          </a:ln>
          <a:solidFill>
            <a:srgbClr val="000000"/>
          </a:solidFill>
          <a:uFillTx/>
          <a:latin typeface="Lato" charset="0"/>
          <a:ea typeface="Lato" charset="0"/>
          <a:cs typeface="Lato" charset="0"/>
          <a:sym typeface="Arial"/>
        </a:defRPr>
      </a:lvl2pPr>
      <a:lvl3pPr marL="673255" marR="0" indent="-204407" algn="l" defTabSz="1097331" rtl="0" eaLnBrk="1" fontAlgn="auto" latinLnBrk="0" hangingPunct="1">
        <a:lnSpc>
          <a:spcPct val="100000"/>
        </a:lnSpc>
        <a:spcBef>
          <a:spcPts val="720"/>
        </a:spcBef>
        <a:spcAft>
          <a:spcPts val="0"/>
        </a:spcAft>
        <a:buClrTx/>
        <a:buSzTx/>
        <a:buFont typeface="Courier New" charset="0"/>
        <a:buChar char="o"/>
        <a:tabLst/>
        <a:defRPr sz="1261" b="0" i="0" u="none" strike="noStrike" cap="none" spc="0" baseline="0">
          <a:ln>
            <a:noFill/>
          </a:ln>
          <a:solidFill>
            <a:srgbClr val="000000"/>
          </a:solidFill>
          <a:uFillTx/>
          <a:latin typeface="Lato" charset="0"/>
          <a:ea typeface="Lato" charset="0"/>
          <a:cs typeface="Lato" charset="0"/>
          <a:sym typeface="Arial"/>
        </a:defRPr>
      </a:lvl3pPr>
      <a:lvl4pPr marL="876233" marR="0" indent="-202976" algn="l" defTabSz="1097331" rtl="0" eaLnBrk="1" fontAlgn="auto" latinLnBrk="0" hangingPunct="1">
        <a:lnSpc>
          <a:spcPct val="100000"/>
        </a:lnSpc>
        <a:spcBef>
          <a:spcPts val="720"/>
        </a:spcBef>
        <a:spcAft>
          <a:spcPts val="0"/>
        </a:spcAft>
        <a:buClrTx/>
        <a:buSzTx/>
        <a:buFont typeface="Wingdings" charset="2"/>
        <a:buChar char="§"/>
        <a:tabLst/>
        <a:defRPr sz="1080" b="0" i="0" u="none" strike="noStrike" cap="none" spc="0" baseline="0">
          <a:ln>
            <a:noFill/>
          </a:ln>
          <a:solidFill>
            <a:srgbClr val="000000"/>
          </a:solidFill>
          <a:uFillTx/>
          <a:latin typeface="Lato" charset="0"/>
          <a:ea typeface="Lato" charset="0"/>
          <a:cs typeface="Lato" charset="0"/>
          <a:sym typeface="Arial"/>
        </a:defRPr>
      </a:lvl4pPr>
      <a:lvl5pPr marL="1092074" marR="0" indent="-215842" algn="l" defTabSz="1097331" rtl="0" eaLnBrk="1" fontAlgn="auto" latinLnBrk="0" hangingPunct="1">
        <a:lnSpc>
          <a:spcPct val="100000"/>
        </a:lnSpc>
        <a:spcBef>
          <a:spcPts val="720"/>
        </a:spcBef>
        <a:spcAft>
          <a:spcPts val="0"/>
        </a:spcAft>
        <a:buClrTx/>
        <a:buSzTx/>
        <a:buFont typeface="Helvetica" charset="0"/>
        <a:buChar char="-"/>
        <a:tabLst/>
        <a:defRPr sz="990" b="0" i="0" u="none" strike="noStrike" cap="none" spc="0" baseline="0">
          <a:ln>
            <a:noFill/>
          </a:ln>
          <a:solidFill>
            <a:srgbClr val="000000"/>
          </a:solidFill>
          <a:uFillTx/>
          <a:latin typeface="Lato" charset="0"/>
          <a:ea typeface="Lato" charset="0"/>
          <a:cs typeface="Lato" charset="0"/>
          <a:sym typeface="Arial"/>
        </a:defRPr>
      </a:lvl5pPr>
      <a:lvl6pPr marL="0" marR="0" indent="0" algn="l" defTabSz="1097331" rtl="0" eaLnBrk="1" latinLnBrk="0" hangingPunct="1">
        <a:lnSpc>
          <a:spcPct val="100000"/>
        </a:lnSpc>
        <a:spcBef>
          <a:spcPts val="720"/>
        </a:spcBef>
        <a:spcAft>
          <a:spcPts val="0"/>
        </a:spcAft>
        <a:buClrTx/>
        <a:buSzTx/>
        <a:buFontTx/>
        <a:buNone/>
        <a:tabLst/>
        <a:defRPr sz="3600" b="0" i="0" u="none" strike="noStrike" cap="none" spc="0" baseline="0">
          <a:ln>
            <a:noFill/>
          </a:ln>
          <a:solidFill>
            <a:srgbClr val="000000"/>
          </a:solidFill>
          <a:uFillTx/>
          <a:latin typeface="+mn-lt"/>
          <a:ea typeface="+mn-ea"/>
          <a:cs typeface="+mn-cs"/>
          <a:sym typeface="Arial"/>
        </a:defRPr>
      </a:lvl6pPr>
      <a:lvl7pPr marL="0" marR="0" indent="0" algn="l" defTabSz="1097331" rtl="0" eaLnBrk="1" latinLnBrk="0" hangingPunct="1">
        <a:lnSpc>
          <a:spcPct val="100000"/>
        </a:lnSpc>
        <a:spcBef>
          <a:spcPts val="720"/>
        </a:spcBef>
        <a:spcAft>
          <a:spcPts val="0"/>
        </a:spcAft>
        <a:buClrTx/>
        <a:buSzTx/>
        <a:buFontTx/>
        <a:buNone/>
        <a:tabLst/>
        <a:defRPr sz="3600" b="0" i="0" u="none" strike="noStrike" cap="none" spc="0" baseline="0">
          <a:ln>
            <a:noFill/>
          </a:ln>
          <a:solidFill>
            <a:srgbClr val="000000"/>
          </a:solidFill>
          <a:uFillTx/>
          <a:latin typeface="+mn-lt"/>
          <a:ea typeface="+mn-ea"/>
          <a:cs typeface="+mn-cs"/>
          <a:sym typeface="Arial"/>
        </a:defRPr>
      </a:lvl7pPr>
      <a:lvl8pPr marL="0" marR="0" indent="0" algn="l" defTabSz="1097331" rtl="0" eaLnBrk="1" latinLnBrk="0" hangingPunct="1">
        <a:lnSpc>
          <a:spcPct val="100000"/>
        </a:lnSpc>
        <a:spcBef>
          <a:spcPts val="720"/>
        </a:spcBef>
        <a:spcAft>
          <a:spcPts val="0"/>
        </a:spcAft>
        <a:buClrTx/>
        <a:buSzTx/>
        <a:buFontTx/>
        <a:buNone/>
        <a:tabLst/>
        <a:defRPr sz="3600" b="0" i="0" u="none" strike="noStrike" cap="none" spc="0" baseline="0">
          <a:ln>
            <a:noFill/>
          </a:ln>
          <a:solidFill>
            <a:srgbClr val="000000"/>
          </a:solidFill>
          <a:uFillTx/>
          <a:latin typeface="+mn-lt"/>
          <a:ea typeface="+mn-ea"/>
          <a:cs typeface="+mn-cs"/>
          <a:sym typeface="Arial"/>
        </a:defRPr>
      </a:lvl8pPr>
      <a:lvl9pPr marL="0" marR="0" indent="0" algn="l" defTabSz="1097331" rtl="0" eaLnBrk="1" latinLnBrk="0" hangingPunct="1">
        <a:lnSpc>
          <a:spcPct val="100000"/>
        </a:lnSpc>
        <a:spcBef>
          <a:spcPts val="720"/>
        </a:spcBef>
        <a:spcAft>
          <a:spcPts val="0"/>
        </a:spcAft>
        <a:buClrTx/>
        <a:buSzTx/>
        <a:buFontTx/>
        <a:buNone/>
        <a:tabLst/>
        <a:defRPr sz="3600" b="0" i="0" u="none" strike="noStrike" cap="none" spc="0" baseline="0">
          <a:ln>
            <a:noFill/>
          </a:ln>
          <a:solidFill>
            <a:srgbClr val="000000"/>
          </a:solidFill>
          <a:uFillTx/>
          <a:latin typeface="+mn-lt"/>
          <a:ea typeface="+mn-ea"/>
          <a:cs typeface="+mn-cs"/>
          <a:sym typeface="Arial"/>
        </a:defRPr>
      </a:lvl9pPr>
    </p:bodyStyle>
    <p:otherStyle>
      <a:lvl1pPr marL="0" marR="0" indent="0" algn="r" defTabSz="1097331" rtl="0" eaLnBrk="1" latinLnBrk="0" hangingPunct="1">
        <a:lnSpc>
          <a:spcPct val="100000"/>
        </a:lnSpc>
        <a:spcBef>
          <a:spcPts val="0"/>
        </a:spcBef>
        <a:spcAft>
          <a:spcPts val="0"/>
        </a:spcAft>
        <a:buClrTx/>
        <a:buSzTx/>
        <a:buFontTx/>
        <a:buNone/>
        <a:tabLst/>
        <a:defRPr sz="1440" b="0" i="0" u="none" strike="noStrike" cap="none" spc="0" baseline="0">
          <a:ln>
            <a:noFill/>
          </a:ln>
          <a:solidFill>
            <a:schemeClr val="tx1"/>
          </a:solidFill>
          <a:uFillTx/>
          <a:latin typeface="+mn-lt"/>
          <a:ea typeface="+mn-ea"/>
          <a:cs typeface="+mn-cs"/>
          <a:sym typeface="Arial"/>
        </a:defRPr>
      </a:lvl1pPr>
      <a:lvl2pPr marL="0" marR="0" indent="0" algn="r" defTabSz="1097331" rtl="0" eaLnBrk="1" latinLnBrk="0" hangingPunct="1">
        <a:lnSpc>
          <a:spcPct val="100000"/>
        </a:lnSpc>
        <a:spcBef>
          <a:spcPts val="0"/>
        </a:spcBef>
        <a:spcAft>
          <a:spcPts val="0"/>
        </a:spcAft>
        <a:buClrTx/>
        <a:buSzTx/>
        <a:buFontTx/>
        <a:buNone/>
        <a:tabLst/>
        <a:defRPr sz="1440" b="0" i="0" u="none" strike="noStrike" cap="none" spc="0" baseline="0">
          <a:ln>
            <a:noFill/>
          </a:ln>
          <a:solidFill>
            <a:schemeClr val="tx1"/>
          </a:solidFill>
          <a:uFillTx/>
          <a:latin typeface="+mn-lt"/>
          <a:ea typeface="+mn-ea"/>
          <a:cs typeface="+mn-cs"/>
          <a:sym typeface="Arial"/>
        </a:defRPr>
      </a:lvl2pPr>
      <a:lvl3pPr marL="0" marR="0" indent="0" algn="r" defTabSz="1097331" rtl="0" eaLnBrk="1" latinLnBrk="0" hangingPunct="1">
        <a:lnSpc>
          <a:spcPct val="100000"/>
        </a:lnSpc>
        <a:spcBef>
          <a:spcPts val="0"/>
        </a:spcBef>
        <a:spcAft>
          <a:spcPts val="0"/>
        </a:spcAft>
        <a:buClrTx/>
        <a:buSzTx/>
        <a:buFontTx/>
        <a:buNone/>
        <a:tabLst/>
        <a:defRPr sz="1440" b="0" i="0" u="none" strike="noStrike" cap="none" spc="0" baseline="0">
          <a:ln>
            <a:noFill/>
          </a:ln>
          <a:solidFill>
            <a:schemeClr val="tx1"/>
          </a:solidFill>
          <a:uFillTx/>
          <a:latin typeface="+mn-lt"/>
          <a:ea typeface="+mn-ea"/>
          <a:cs typeface="+mn-cs"/>
          <a:sym typeface="Arial"/>
        </a:defRPr>
      </a:lvl3pPr>
      <a:lvl4pPr marL="0" marR="0" indent="0" algn="r" defTabSz="1097331" rtl="0" eaLnBrk="1" latinLnBrk="0" hangingPunct="1">
        <a:lnSpc>
          <a:spcPct val="100000"/>
        </a:lnSpc>
        <a:spcBef>
          <a:spcPts val="0"/>
        </a:spcBef>
        <a:spcAft>
          <a:spcPts val="0"/>
        </a:spcAft>
        <a:buClrTx/>
        <a:buSzTx/>
        <a:buFontTx/>
        <a:buNone/>
        <a:tabLst/>
        <a:defRPr sz="1440" b="0" i="0" u="none" strike="noStrike" cap="none" spc="0" baseline="0">
          <a:ln>
            <a:noFill/>
          </a:ln>
          <a:solidFill>
            <a:schemeClr val="tx1"/>
          </a:solidFill>
          <a:uFillTx/>
          <a:latin typeface="+mn-lt"/>
          <a:ea typeface="+mn-ea"/>
          <a:cs typeface="+mn-cs"/>
          <a:sym typeface="Arial"/>
        </a:defRPr>
      </a:lvl4pPr>
      <a:lvl5pPr marL="0" marR="0" indent="0" algn="r" defTabSz="1097331" rtl="0" eaLnBrk="1" latinLnBrk="0" hangingPunct="1">
        <a:lnSpc>
          <a:spcPct val="100000"/>
        </a:lnSpc>
        <a:spcBef>
          <a:spcPts val="0"/>
        </a:spcBef>
        <a:spcAft>
          <a:spcPts val="0"/>
        </a:spcAft>
        <a:buClrTx/>
        <a:buSzTx/>
        <a:buFontTx/>
        <a:buNone/>
        <a:tabLst/>
        <a:defRPr sz="1440" b="0" i="0" u="none" strike="noStrike" cap="none" spc="0" baseline="0">
          <a:ln>
            <a:noFill/>
          </a:ln>
          <a:solidFill>
            <a:schemeClr val="tx1"/>
          </a:solidFill>
          <a:uFillTx/>
          <a:latin typeface="+mn-lt"/>
          <a:ea typeface="+mn-ea"/>
          <a:cs typeface="+mn-cs"/>
          <a:sym typeface="Arial"/>
        </a:defRPr>
      </a:lvl5pPr>
      <a:lvl6pPr marL="0" marR="0" indent="0" algn="r" defTabSz="1097331" rtl="0" eaLnBrk="1" latinLnBrk="0" hangingPunct="1">
        <a:lnSpc>
          <a:spcPct val="100000"/>
        </a:lnSpc>
        <a:spcBef>
          <a:spcPts val="0"/>
        </a:spcBef>
        <a:spcAft>
          <a:spcPts val="0"/>
        </a:spcAft>
        <a:buClrTx/>
        <a:buSzTx/>
        <a:buFontTx/>
        <a:buNone/>
        <a:tabLst/>
        <a:defRPr sz="1440" b="0" i="0" u="none" strike="noStrike" cap="none" spc="0" baseline="0">
          <a:ln>
            <a:noFill/>
          </a:ln>
          <a:solidFill>
            <a:schemeClr val="tx1"/>
          </a:solidFill>
          <a:uFillTx/>
          <a:latin typeface="+mn-lt"/>
          <a:ea typeface="+mn-ea"/>
          <a:cs typeface="+mn-cs"/>
          <a:sym typeface="Arial"/>
        </a:defRPr>
      </a:lvl6pPr>
      <a:lvl7pPr marL="0" marR="0" indent="0" algn="r" defTabSz="1097331" rtl="0" eaLnBrk="1" latinLnBrk="0" hangingPunct="1">
        <a:lnSpc>
          <a:spcPct val="100000"/>
        </a:lnSpc>
        <a:spcBef>
          <a:spcPts val="0"/>
        </a:spcBef>
        <a:spcAft>
          <a:spcPts val="0"/>
        </a:spcAft>
        <a:buClrTx/>
        <a:buSzTx/>
        <a:buFontTx/>
        <a:buNone/>
        <a:tabLst/>
        <a:defRPr sz="1440" b="0" i="0" u="none" strike="noStrike" cap="none" spc="0" baseline="0">
          <a:ln>
            <a:noFill/>
          </a:ln>
          <a:solidFill>
            <a:schemeClr val="tx1"/>
          </a:solidFill>
          <a:uFillTx/>
          <a:latin typeface="+mn-lt"/>
          <a:ea typeface="+mn-ea"/>
          <a:cs typeface="+mn-cs"/>
          <a:sym typeface="Arial"/>
        </a:defRPr>
      </a:lvl7pPr>
      <a:lvl8pPr marL="0" marR="0" indent="0" algn="r" defTabSz="1097331" rtl="0" eaLnBrk="1" latinLnBrk="0" hangingPunct="1">
        <a:lnSpc>
          <a:spcPct val="100000"/>
        </a:lnSpc>
        <a:spcBef>
          <a:spcPts val="0"/>
        </a:spcBef>
        <a:spcAft>
          <a:spcPts val="0"/>
        </a:spcAft>
        <a:buClrTx/>
        <a:buSzTx/>
        <a:buFontTx/>
        <a:buNone/>
        <a:tabLst/>
        <a:defRPr sz="1440" b="0" i="0" u="none" strike="noStrike" cap="none" spc="0" baseline="0">
          <a:ln>
            <a:noFill/>
          </a:ln>
          <a:solidFill>
            <a:schemeClr val="tx1"/>
          </a:solidFill>
          <a:uFillTx/>
          <a:latin typeface="+mn-lt"/>
          <a:ea typeface="+mn-ea"/>
          <a:cs typeface="+mn-cs"/>
          <a:sym typeface="Arial"/>
        </a:defRPr>
      </a:lvl8pPr>
      <a:lvl9pPr marL="0" marR="0" indent="0" algn="r" defTabSz="1097331" rtl="0" eaLnBrk="1" latinLnBrk="0" hangingPunct="1">
        <a:lnSpc>
          <a:spcPct val="100000"/>
        </a:lnSpc>
        <a:spcBef>
          <a:spcPts val="0"/>
        </a:spcBef>
        <a:spcAft>
          <a:spcPts val="0"/>
        </a:spcAft>
        <a:buClrTx/>
        <a:buSzTx/>
        <a:buFontTx/>
        <a:buNone/>
        <a:tabLst/>
        <a:defRPr sz="1440" b="0" i="0" u="none" strike="noStrike" cap="none" spc="0" baseline="0">
          <a:ln>
            <a:noFill/>
          </a:ln>
          <a:solidFill>
            <a:schemeClr val="tx1"/>
          </a:solidFill>
          <a:uFillTx/>
          <a:latin typeface="+mn-lt"/>
          <a:ea typeface="+mn-ea"/>
          <a:cs typeface="+mn-cs"/>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BC82DA36-8C6A-2A4E-B68F-7D31CF06C5D0}"/>
              </a:ext>
            </a:extLst>
          </p:cNvPr>
          <p:cNvSpPr txBox="1">
            <a:spLocks/>
          </p:cNvSpPr>
          <p:nvPr/>
        </p:nvSpPr>
        <p:spPr>
          <a:xfrm>
            <a:off x="5358667" y="3382175"/>
            <a:ext cx="6833333" cy="602302"/>
          </a:xfrm>
          <a:prstGeom prst="rect">
            <a:avLst/>
          </a:prstGeom>
        </p:spPr>
        <p:txBody>
          <a:bodyPr vert="horz" lIns="91440" tIns="45720" rIns="91440" bIns="45720" rtlCol="0" anchor="ctr">
            <a:no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120000"/>
              </a:lnSpc>
            </a:pPr>
            <a:r>
              <a:rPr lang="en-US" sz="2400" dirty="0">
                <a:solidFill>
                  <a:srgbClr val="E66B17"/>
                </a:solidFill>
                <a:latin typeface="Lato Light" charset="0"/>
                <a:ea typeface="Lato Light" charset="0"/>
                <a:cs typeface="Lato Light" charset="0"/>
              </a:rPr>
              <a:t>Innominds QE Services Proposal for Nasdaq</a:t>
            </a:r>
          </a:p>
        </p:txBody>
      </p:sp>
      <p:sp>
        <p:nvSpPr>
          <p:cNvPr id="4" name="Rectangle 3">
            <a:extLst>
              <a:ext uri="{FF2B5EF4-FFF2-40B4-BE49-F238E27FC236}">
                <a16:creationId xmlns:a16="http://schemas.microsoft.com/office/drawing/2014/main" id="{93E067E9-8284-7842-9D17-124D292A5944}"/>
              </a:ext>
            </a:extLst>
          </p:cNvPr>
          <p:cNvSpPr/>
          <p:nvPr/>
        </p:nvSpPr>
        <p:spPr>
          <a:xfrm>
            <a:off x="10118726" y="4050576"/>
            <a:ext cx="2021893" cy="338554"/>
          </a:xfrm>
          <a:prstGeom prst="rect">
            <a:avLst/>
          </a:prstGeom>
        </p:spPr>
        <p:txBody>
          <a:bodyPr wrap="square">
            <a:spAutoFit/>
          </a:bodyPr>
          <a:lstStyle/>
          <a:p>
            <a:pPr algn="r"/>
            <a:fld id="{CB0F2B96-F997-43C4-B4AE-119E9C3396C4}" type="datetime4">
              <a:rPr lang="en-US" sz="1600"/>
              <a:t>November 1, 2018</a:t>
            </a:fld>
            <a:endParaRPr lang="en-US" sz="1600" dirty="0"/>
          </a:p>
        </p:txBody>
      </p:sp>
      <p:pic>
        <p:nvPicPr>
          <p:cNvPr id="1026" name="Picture 2" descr="Image result for nasdaq">
            <a:extLst>
              <a:ext uri="{FF2B5EF4-FFF2-40B4-BE49-F238E27FC236}">
                <a16:creationId xmlns:a16="http://schemas.microsoft.com/office/drawing/2014/main" id="{49EABAC6-CC71-42D6-9686-A59DDCA7E69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282996"/>
            <a:ext cx="2113340" cy="6023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8161420"/>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159384-650A-44AC-84C2-4EC31C942BDF}"/>
              </a:ext>
            </a:extLst>
          </p:cNvPr>
          <p:cNvSpPr>
            <a:spLocks noGrp="1"/>
          </p:cNvSpPr>
          <p:nvPr>
            <p:ph type="title"/>
          </p:nvPr>
        </p:nvSpPr>
        <p:spPr/>
        <p:txBody>
          <a:bodyPr>
            <a:normAutofit/>
          </a:bodyPr>
          <a:lstStyle/>
          <a:p>
            <a:r>
              <a:rPr lang="en-US" sz="2800" dirty="0">
                <a:latin typeface="Lato" panose="020F0502020204030203"/>
              </a:rPr>
              <a:t>Engagement Model and Commercials</a:t>
            </a:r>
          </a:p>
        </p:txBody>
      </p:sp>
      <p:pic>
        <p:nvPicPr>
          <p:cNvPr id="3" name="Picture 2">
            <a:extLst>
              <a:ext uri="{FF2B5EF4-FFF2-40B4-BE49-F238E27FC236}">
                <a16:creationId xmlns:a16="http://schemas.microsoft.com/office/drawing/2014/main" id="{A37A1B5E-6C5E-4F93-A4D9-41B646EF29E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t="11284" b="4752"/>
          <a:stretch/>
        </p:blipFill>
        <p:spPr>
          <a:xfrm>
            <a:off x="-2" y="784874"/>
            <a:ext cx="12195177" cy="5741936"/>
          </a:xfrm>
          <a:prstGeom prst="rect">
            <a:avLst/>
          </a:prstGeom>
        </p:spPr>
      </p:pic>
      <p:sp>
        <p:nvSpPr>
          <p:cNvPr id="4" name="TextBox 3">
            <a:extLst>
              <a:ext uri="{FF2B5EF4-FFF2-40B4-BE49-F238E27FC236}">
                <a16:creationId xmlns:a16="http://schemas.microsoft.com/office/drawing/2014/main" id="{4DB7F265-A404-40C5-81E8-D24359B6F5AD}"/>
              </a:ext>
            </a:extLst>
          </p:cNvPr>
          <p:cNvSpPr txBox="1"/>
          <p:nvPr/>
        </p:nvSpPr>
        <p:spPr>
          <a:xfrm>
            <a:off x="403671" y="1129765"/>
            <a:ext cx="11384658" cy="523220"/>
          </a:xfrm>
          <a:prstGeom prst="rect">
            <a:avLst/>
          </a:prstGeom>
          <a:noFill/>
        </p:spPr>
        <p:txBody>
          <a:bodyPr wrap="square" rtlCol="0">
            <a:spAutoFit/>
          </a:bodyPr>
          <a:lstStyle/>
          <a:p>
            <a:r>
              <a:rPr lang="en-US" sz="1400" dirty="0">
                <a:latin typeface="Lato" panose="020F0502020204030203"/>
              </a:rPr>
              <a:t>After understanding the scope and objectives of the project, Innominds recommend to execute this engagement on a Fixed Bid Model and below table will provide estimated cost of the engagement:</a:t>
            </a:r>
          </a:p>
        </p:txBody>
      </p:sp>
      <p:graphicFrame>
        <p:nvGraphicFramePr>
          <p:cNvPr id="8" name="Table 7">
            <a:extLst>
              <a:ext uri="{FF2B5EF4-FFF2-40B4-BE49-F238E27FC236}">
                <a16:creationId xmlns:a16="http://schemas.microsoft.com/office/drawing/2014/main" id="{FB3F4F87-D0FD-451B-B492-FC8F969B79BC}"/>
              </a:ext>
            </a:extLst>
          </p:cNvPr>
          <p:cNvGraphicFramePr>
            <a:graphicFrameLocks noGrp="1"/>
          </p:cNvGraphicFramePr>
          <p:nvPr>
            <p:extLst>
              <p:ext uri="{D42A27DB-BD31-4B8C-83A1-F6EECF244321}">
                <p14:modId xmlns:p14="http://schemas.microsoft.com/office/powerpoint/2010/main" val="341847777"/>
              </p:ext>
            </p:extLst>
          </p:nvPr>
        </p:nvGraphicFramePr>
        <p:xfrm>
          <a:off x="942063" y="1731643"/>
          <a:ext cx="10307873" cy="2004886"/>
        </p:xfrm>
        <a:graphic>
          <a:graphicData uri="http://schemas.openxmlformats.org/drawingml/2006/table">
            <a:tbl>
              <a:tblPr firstRow="1" lastRow="1"/>
              <a:tblGrid>
                <a:gridCol w="7990366">
                  <a:extLst>
                    <a:ext uri="{9D8B030D-6E8A-4147-A177-3AD203B41FA5}">
                      <a16:colId xmlns:a16="http://schemas.microsoft.com/office/drawing/2014/main" val="20000"/>
                    </a:ext>
                  </a:extLst>
                </a:gridCol>
                <a:gridCol w="2317507">
                  <a:extLst>
                    <a:ext uri="{9D8B030D-6E8A-4147-A177-3AD203B41FA5}">
                      <a16:colId xmlns:a16="http://schemas.microsoft.com/office/drawing/2014/main" val="20005"/>
                    </a:ext>
                  </a:extLst>
                </a:gridCol>
              </a:tblGrid>
              <a:tr h="509645">
                <a:tc>
                  <a:txBody>
                    <a:bodyPr/>
                    <a:lstStyle/>
                    <a:p>
                      <a:pPr marL="0" marR="0" indent="0" algn="ctr">
                        <a:spcBef>
                          <a:spcPts val="0"/>
                        </a:spcBef>
                        <a:spcAft>
                          <a:spcPts val="0"/>
                        </a:spcAft>
                      </a:pPr>
                      <a:r>
                        <a:rPr lang="en-US" sz="1400" b="1" i="0" u="none" strike="noStrike" cap="none" spc="0" baseline="0" dirty="0">
                          <a:ln>
                            <a:noFill/>
                          </a:ln>
                          <a:solidFill>
                            <a:schemeClr val="bg1"/>
                          </a:solidFill>
                          <a:uFillTx/>
                          <a:latin typeface="Lato Light" charset="0"/>
                          <a:ea typeface="Lato Light" charset="0"/>
                          <a:cs typeface="Lato Light" charset="0"/>
                          <a:sym typeface="Arial"/>
                        </a:rPr>
                        <a:t>Modules</a:t>
                      </a:r>
                    </a:p>
                  </a:txBody>
                  <a:tcPr marL="82275" marR="82275" marT="41137" marB="41137"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3D808C"/>
                    </a:solidFill>
                  </a:tcPr>
                </a:tc>
                <a:tc>
                  <a:txBody>
                    <a:bodyPr/>
                    <a:lstStyle/>
                    <a:p>
                      <a:pPr marL="0" marR="0" indent="0" algn="ctr" defTabSz="914400" rtl="0" eaLnBrk="1" latinLnBrk="0" hangingPunct="1">
                        <a:spcBef>
                          <a:spcPts val="0"/>
                        </a:spcBef>
                        <a:spcAft>
                          <a:spcPts val="0"/>
                        </a:spcAft>
                      </a:pPr>
                      <a:r>
                        <a:rPr lang="en-US" sz="1400" b="1" i="0" u="none" strike="noStrike" cap="none" spc="0" baseline="0" dirty="0">
                          <a:ln>
                            <a:noFill/>
                          </a:ln>
                          <a:solidFill>
                            <a:schemeClr val="bg1"/>
                          </a:solidFill>
                          <a:uFillTx/>
                          <a:latin typeface="Lato Light" charset="0"/>
                          <a:ea typeface="Lato Light" charset="0"/>
                          <a:cs typeface="Lato Light" charset="0"/>
                          <a:sym typeface="Arial"/>
                        </a:rPr>
                        <a:t>Total Cost</a:t>
                      </a:r>
                    </a:p>
                    <a:p>
                      <a:pPr marL="0" marR="0" indent="0" algn="ctr" defTabSz="914400" rtl="0" eaLnBrk="1" latinLnBrk="0" hangingPunct="1">
                        <a:spcBef>
                          <a:spcPts val="0"/>
                        </a:spcBef>
                        <a:spcAft>
                          <a:spcPts val="0"/>
                        </a:spcAft>
                      </a:pPr>
                      <a:r>
                        <a:rPr lang="en-US" sz="1400" b="1" i="0" u="none" strike="noStrike" cap="none" spc="0" baseline="0" dirty="0">
                          <a:ln>
                            <a:noFill/>
                          </a:ln>
                          <a:solidFill>
                            <a:schemeClr val="bg1"/>
                          </a:solidFill>
                          <a:uFillTx/>
                          <a:latin typeface="Lato Light" charset="0"/>
                          <a:ea typeface="Lato Light" charset="0"/>
                          <a:cs typeface="Lato Light" charset="0"/>
                          <a:sym typeface="Arial"/>
                        </a:rPr>
                        <a:t>(in USD)</a:t>
                      </a:r>
                    </a:p>
                  </a:txBody>
                  <a:tcPr marL="82275" marR="194259" marT="41899" marB="41137"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3D808C"/>
                    </a:solidFill>
                  </a:tcPr>
                </a:tc>
                <a:extLst>
                  <a:ext uri="{0D108BD9-81ED-4DB2-BD59-A6C34878D82A}">
                    <a16:rowId xmlns:a16="http://schemas.microsoft.com/office/drawing/2014/main" val="10000"/>
                  </a:ext>
                </a:extLst>
              </a:tr>
              <a:tr h="346056">
                <a:tc>
                  <a:txBody>
                    <a:bodyPr/>
                    <a:lstStyle/>
                    <a:p>
                      <a:pPr marL="228600" marR="0" algn="l" defTabSz="914400" rtl="0" eaLnBrk="1" latinLnBrk="0" hangingPunct="1">
                        <a:spcBef>
                          <a:spcPts val="0"/>
                        </a:spcBef>
                        <a:spcAft>
                          <a:spcPts val="0"/>
                        </a:spcAft>
                      </a:pPr>
                      <a:r>
                        <a:rPr lang="en-US" sz="1400" b="0" kern="1200" dirty="0">
                          <a:solidFill>
                            <a:schemeClr val="tx1"/>
                          </a:solidFill>
                          <a:effectLst/>
                          <a:latin typeface="Lato" panose="020F0502020204030203"/>
                          <a:ea typeface="Lato" charset="0"/>
                          <a:cs typeface="Lato" charset="0"/>
                        </a:rPr>
                        <a:t>Testing Services for modules under scope</a:t>
                      </a:r>
                    </a:p>
                    <a:p>
                      <a:pPr marL="228600" marR="0" algn="l" defTabSz="914400" rtl="0" eaLnBrk="1" latinLnBrk="0" hangingPunct="1">
                        <a:spcBef>
                          <a:spcPts val="0"/>
                        </a:spcBef>
                        <a:spcAft>
                          <a:spcPts val="0"/>
                        </a:spcAft>
                      </a:pPr>
                      <a:endParaRPr lang="en-US" sz="1400" b="0" kern="1200" dirty="0">
                        <a:solidFill>
                          <a:schemeClr val="tx1"/>
                        </a:solidFill>
                        <a:effectLst/>
                        <a:latin typeface="Lato" panose="020F0502020204030203"/>
                        <a:ea typeface="Lato" charset="0"/>
                        <a:cs typeface="Lato" charset="0"/>
                      </a:endParaRPr>
                    </a:p>
                    <a:p>
                      <a:pPr marL="228600" marR="0" indent="0" algn="l" defTabSz="914400" rtl="0" eaLnBrk="1" fontAlgn="auto" latinLnBrk="0" hangingPunct="1">
                        <a:lnSpc>
                          <a:spcPct val="100000"/>
                        </a:lnSpc>
                        <a:spcBef>
                          <a:spcPts val="0"/>
                        </a:spcBef>
                        <a:spcAft>
                          <a:spcPts val="0"/>
                        </a:spcAft>
                        <a:buClrTx/>
                        <a:buSzTx/>
                        <a:buFontTx/>
                        <a:buNone/>
                        <a:tabLst/>
                        <a:defRPr/>
                      </a:pPr>
                      <a:r>
                        <a:rPr lang="en-US" sz="1400" b="0" kern="1200" dirty="0">
                          <a:solidFill>
                            <a:schemeClr val="tx1"/>
                          </a:solidFill>
                          <a:effectLst/>
                          <a:latin typeface="Lato" panose="020F0502020204030203"/>
                          <a:ea typeface="Lato" charset="0"/>
                          <a:cs typeface="Lato" charset="0"/>
                        </a:rPr>
                        <a:t>[ includes JUnit Testing of additional 2000 Methods (Private methods or methods part of DAO layer / Entities / DTO which are in addition to the private methods implicitly called by public methods ]</a:t>
                      </a:r>
                    </a:p>
                  </a:txBody>
                  <a:tcPr marL="82275" marR="82275" marT="41137" marB="41137"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tc>
                  <a:txBody>
                    <a:bodyPr/>
                    <a:lstStyle/>
                    <a:p>
                      <a:pPr marL="228600" marR="0" algn="ctr" defTabSz="914400" rtl="0" eaLnBrk="1" latinLnBrk="0" hangingPunct="1">
                        <a:spcBef>
                          <a:spcPts val="0"/>
                        </a:spcBef>
                        <a:spcAft>
                          <a:spcPts val="0"/>
                        </a:spcAft>
                      </a:pPr>
                      <a:r>
                        <a:rPr lang="en-US" sz="1400" b="0" kern="1200" dirty="0">
                          <a:solidFill>
                            <a:schemeClr val="tx1"/>
                          </a:solidFill>
                          <a:effectLst/>
                          <a:latin typeface="Lato" panose="020F0502020204030203"/>
                          <a:ea typeface="Lato" charset="0"/>
                          <a:cs typeface="Lato" charset="0"/>
                        </a:rPr>
                        <a:t>USD 300,000</a:t>
                      </a:r>
                    </a:p>
                  </a:txBody>
                  <a:tcPr marL="82275" marR="194259" marT="41899" marB="41137"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0001"/>
                  </a:ext>
                </a:extLst>
              </a:tr>
              <a:tr h="346056">
                <a:tc>
                  <a:txBody>
                    <a:bodyPr/>
                    <a:lstStyle/>
                    <a:p>
                      <a:pPr marL="228600" marR="0" lvl="0" indent="0" algn="ctr" defTabSz="1097331" rtl="0" eaLnBrk="1" fontAlgn="auto" latinLnBrk="0" hangingPunct="1">
                        <a:lnSpc>
                          <a:spcPct val="100000"/>
                        </a:lnSpc>
                        <a:spcBef>
                          <a:spcPts val="0"/>
                        </a:spcBef>
                        <a:spcAft>
                          <a:spcPts val="0"/>
                        </a:spcAft>
                        <a:buClrTx/>
                        <a:buSzTx/>
                        <a:buFontTx/>
                        <a:buNone/>
                        <a:tabLst/>
                        <a:defRPr/>
                      </a:pPr>
                      <a:r>
                        <a:rPr lang="en-US" sz="1400" b="1" i="0" u="none" strike="noStrike" cap="none" spc="0" baseline="0" dirty="0">
                          <a:ln>
                            <a:noFill/>
                          </a:ln>
                          <a:solidFill>
                            <a:schemeClr val="tx1"/>
                          </a:solidFill>
                          <a:uFillTx/>
                          <a:latin typeface="Lato Light" charset="0"/>
                          <a:ea typeface="Lato Light" charset="0"/>
                          <a:cs typeface="Lato Light" charset="0"/>
                          <a:sym typeface="Arial"/>
                        </a:rPr>
                        <a:t>Estimated cost of the engagement (in USD)</a:t>
                      </a:r>
                    </a:p>
                  </a:txBody>
                  <a:tcPr marL="82275" marR="82275" marT="41137" marB="41137"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marL="228600" marR="0" lvl="0" indent="0" algn="ctr" defTabSz="1097331" rtl="0" eaLnBrk="1" fontAlgn="auto" latinLnBrk="0" hangingPunct="1">
                        <a:lnSpc>
                          <a:spcPct val="100000"/>
                        </a:lnSpc>
                        <a:spcBef>
                          <a:spcPts val="0"/>
                        </a:spcBef>
                        <a:spcAft>
                          <a:spcPts val="0"/>
                        </a:spcAft>
                        <a:buClrTx/>
                        <a:buSzTx/>
                        <a:buFontTx/>
                        <a:buNone/>
                        <a:tabLst/>
                        <a:defRPr/>
                      </a:pPr>
                      <a:r>
                        <a:rPr lang="en-US" sz="1400" b="0" kern="1200" dirty="0">
                          <a:solidFill>
                            <a:schemeClr val="tx1"/>
                          </a:solidFill>
                          <a:effectLst/>
                          <a:latin typeface="Lato" panose="020F0502020204030203"/>
                          <a:ea typeface="Lato" charset="0"/>
                          <a:cs typeface="Lato" charset="0"/>
                        </a:rPr>
                        <a:t>USD 300,000</a:t>
                      </a:r>
                    </a:p>
                  </a:txBody>
                  <a:tcPr marL="82275" marR="194259" marT="41899" marB="41137"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896248839"/>
                  </a:ext>
                </a:extLst>
              </a:tr>
            </a:tbl>
          </a:graphicData>
        </a:graphic>
      </p:graphicFrame>
      <p:graphicFrame>
        <p:nvGraphicFramePr>
          <p:cNvPr id="9" name="Table 8">
            <a:extLst>
              <a:ext uri="{FF2B5EF4-FFF2-40B4-BE49-F238E27FC236}">
                <a16:creationId xmlns:a16="http://schemas.microsoft.com/office/drawing/2014/main" id="{8F4D2579-C187-4729-AB9F-07244E8ACE35}"/>
              </a:ext>
            </a:extLst>
          </p:cNvPr>
          <p:cNvGraphicFramePr>
            <a:graphicFrameLocks noGrp="1"/>
          </p:cNvGraphicFramePr>
          <p:nvPr>
            <p:extLst>
              <p:ext uri="{D42A27DB-BD31-4B8C-83A1-F6EECF244321}">
                <p14:modId xmlns:p14="http://schemas.microsoft.com/office/powerpoint/2010/main" val="2023964532"/>
              </p:ext>
            </p:extLst>
          </p:nvPr>
        </p:nvGraphicFramePr>
        <p:xfrm>
          <a:off x="942064" y="4485387"/>
          <a:ext cx="10307872" cy="1828552"/>
        </p:xfrm>
        <a:graphic>
          <a:graphicData uri="http://schemas.openxmlformats.org/drawingml/2006/table">
            <a:tbl>
              <a:tblPr>
                <a:tableStyleId>{5C22544A-7EE6-4342-B048-85BDC9FD1C3A}</a:tableStyleId>
              </a:tblPr>
              <a:tblGrid>
                <a:gridCol w="2135710">
                  <a:extLst>
                    <a:ext uri="{9D8B030D-6E8A-4147-A177-3AD203B41FA5}">
                      <a16:colId xmlns:a16="http://schemas.microsoft.com/office/drawing/2014/main" val="20000"/>
                    </a:ext>
                  </a:extLst>
                </a:gridCol>
                <a:gridCol w="8172162">
                  <a:extLst>
                    <a:ext uri="{9D8B030D-6E8A-4147-A177-3AD203B41FA5}">
                      <a16:colId xmlns:a16="http://schemas.microsoft.com/office/drawing/2014/main" val="20001"/>
                    </a:ext>
                  </a:extLst>
                </a:gridCol>
              </a:tblGrid>
              <a:tr h="186730">
                <a:tc>
                  <a:txBody>
                    <a:bodyPr/>
                    <a:lstStyle/>
                    <a:p>
                      <a:pPr marL="18288" marR="0" indent="-18288" algn="l" defTabSz="1097331" rtl="0" eaLnBrk="1" latinLnBrk="0" hangingPunct="1">
                        <a:lnSpc>
                          <a:spcPct val="100000"/>
                        </a:lnSpc>
                        <a:spcBef>
                          <a:spcPts val="0"/>
                        </a:spcBef>
                        <a:spcAft>
                          <a:spcPts val="0"/>
                        </a:spcAft>
                        <a:buClrTx/>
                        <a:buSzTx/>
                        <a:buFontTx/>
                        <a:buNone/>
                        <a:tabLst/>
                      </a:pPr>
                      <a:r>
                        <a:rPr lang="en-US" sz="1200" b="1" i="0" u="none" strike="noStrike" cap="none" spc="0" baseline="0" dirty="0">
                          <a:ln>
                            <a:noFill/>
                          </a:ln>
                          <a:solidFill>
                            <a:schemeClr val="bg1"/>
                          </a:solidFill>
                          <a:uFillTx/>
                          <a:latin typeface="Lato" charset="0"/>
                          <a:ea typeface="Lato" charset="0"/>
                          <a:cs typeface="Lato" charset="0"/>
                          <a:sym typeface="Arial"/>
                        </a:rPr>
                        <a:t>Engagement Model</a:t>
                      </a:r>
                    </a:p>
                  </a:txBody>
                  <a:tcPr marL="91378" marR="91378" marT="45689" marB="456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808C"/>
                    </a:solidFill>
                  </a:tcPr>
                </a:tc>
                <a:tc>
                  <a:txBody>
                    <a:bodyPr/>
                    <a:lstStyle/>
                    <a:p>
                      <a:pPr marL="0" marR="0" indent="0" algn="l" defTabSz="1097331" rtl="0" eaLnBrk="1" fontAlgn="auto" latinLnBrk="0" hangingPunct="1">
                        <a:lnSpc>
                          <a:spcPct val="100000"/>
                        </a:lnSpc>
                        <a:spcBef>
                          <a:spcPts val="0"/>
                        </a:spcBef>
                        <a:spcAft>
                          <a:spcPts val="0"/>
                        </a:spcAft>
                        <a:buClrTx/>
                        <a:buSzTx/>
                        <a:buFont typeface="Arial" charset="0"/>
                        <a:buNone/>
                        <a:tabLst/>
                        <a:defRPr/>
                      </a:pPr>
                      <a:r>
                        <a:rPr lang="en-US" sz="1200" b="0" i="0" u="none" strike="noStrike" cap="none" spc="0" baseline="0" dirty="0">
                          <a:ln>
                            <a:noFill/>
                          </a:ln>
                          <a:solidFill>
                            <a:schemeClr val="tx1">
                              <a:lumMod val="75000"/>
                              <a:lumOff val="25000"/>
                            </a:schemeClr>
                          </a:solidFill>
                          <a:uFillTx/>
                          <a:latin typeface="Lato" charset="0"/>
                          <a:ea typeface="Lato" charset="0"/>
                          <a:cs typeface="Lato" charset="0"/>
                          <a:sym typeface="Arial"/>
                        </a:rPr>
                        <a:t>Fixed Bid</a:t>
                      </a:r>
                    </a:p>
                  </a:txBody>
                  <a:tcPr marL="91378" marR="91378" marT="45689" marB="456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9019301"/>
                  </a:ext>
                </a:extLst>
              </a:tr>
              <a:tr h="161637">
                <a:tc>
                  <a:txBody>
                    <a:bodyPr/>
                    <a:lstStyle/>
                    <a:p>
                      <a:pPr marL="18288" marR="0" indent="-18288" algn="l" defTabSz="1097331" rtl="0" eaLnBrk="1" latinLnBrk="0" hangingPunct="1">
                        <a:lnSpc>
                          <a:spcPct val="100000"/>
                        </a:lnSpc>
                        <a:spcBef>
                          <a:spcPts val="0"/>
                        </a:spcBef>
                        <a:spcAft>
                          <a:spcPts val="0"/>
                        </a:spcAft>
                        <a:buClrTx/>
                        <a:buSzTx/>
                        <a:buFontTx/>
                        <a:buNone/>
                        <a:tabLst/>
                      </a:pPr>
                      <a:r>
                        <a:rPr lang="en-US" sz="1200" b="1" i="0" u="none" strike="noStrike" cap="none" spc="0" baseline="0" dirty="0">
                          <a:ln>
                            <a:noFill/>
                          </a:ln>
                          <a:solidFill>
                            <a:schemeClr val="bg1"/>
                          </a:solidFill>
                          <a:uFillTx/>
                          <a:latin typeface="Lato" charset="0"/>
                          <a:ea typeface="Lato" charset="0"/>
                          <a:cs typeface="Lato" charset="0"/>
                          <a:sym typeface="Arial"/>
                        </a:rPr>
                        <a:t>Location</a:t>
                      </a:r>
                    </a:p>
                  </a:txBody>
                  <a:tcPr marL="91378" marR="91378" marT="45689" marB="456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808C"/>
                    </a:solidFill>
                  </a:tcPr>
                </a:tc>
                <a:tc>
                  <a:txBody>
                    <a:bodyPr/>
                    <a:lstStyle/>
                    <a:p>
                      <a:pPr marL="0" marR="0" indent="0" algn="l" defTabSz="1097331" rtl="0" eaLnBrk="1" latinLnBrk="0" hangingPunct="1">
                        <a:lnSpc>
                          <a:spcPct val="100000"/>
                        </a:lnSpc>
                        <a:spcBef>
                          <a:spcPts val="0"/>
                        </a:spcBef>
                        <a:spcAft>
                          <a:spcPts val="0"/>
                        </a:spcAft>
                        <a:buClrTx/>
                        <a:buSzTx/>
                        <a:buFont typeface="Arial" charset="0"/>
                        <a:buNone/>
                        <a:tabLst/>
                      </a:pPr>
                      <a:r>
                        <a:rPr lang="en-US" sz="1200" b="0" i="0" u="none" strike="noStrike" cap="none" spc="0" baseline="0" dirty="0">
                          <a:ln>
                            <a:noFill/>
                          </a:ln>
                          <a:solidFill>
                            <a:schemeClr val="tx1">
                              <a:lumMod val="75000"/>
                              <a:lumOff val="25000"/>
                            </a:schemeClr>
                          </a:solidFill>
                          <a:uFillTx/>
                          <a:latin typeface="Lato" charset="0"/>
                          <a:ea typeface="Lato" charset="0"/>
                          <a:cs typeface="Lato" charset="0"/>
                          <a:sym typeface="Arial"/>
                        </a:rPr>
                        <a:t>Team will be based out of offshore locations</a:t>
                      </a:r>
                    </a:p>
                  </a:txBody>
                  <a:tcPr marL="91378" marR="91378" marT="45689" marB="456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18288" indent="-18288" algn="l"/>
                      <a:r>
                        <a:rPr lang="en-US" sz="1200" dirty="0">
                          <a:solidFill>
                            <a:schemeClr val="bg1"/>
                          </a:solidFill>
                          <a:latin typeface="Lato" charset="0"/>
                          <a:ea typeface="Lato" charset="0"/>
                          <a:cs typeface="Lato" charset="0"/>
                        </a:rPr>
                        <a:t>Travel</a:t>
                      </a:r>
                    </a:p>
                  </a:txBody>
                  <a:tcPr marL="91378" marR="91378" marT="45689" marB="456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808C"/>
                    </a:solidFill>
                  </a:tcPr>
                </a:tc>
                <a:tc>
                  <a:txBody>
                    <a:bodyPr/>
                    <a:lstStyle/>
                    <a:p>
                      <a:pPr marL="180975" marR="0" indent="-180975" algn="l" defTabSz="1218688" rtl="0" eaLnBrk="1" fontAlgn="auto" latinLnBrk="0" hangingPunct="1">
                        <a:lnSpc>
                          <a:spcPct val="100000"/>
                        </a:lnSpc>
                        <a:spcBef>
                          <a:spcPts val="0"/>
                        </a:spcBef>
                        <a:spcAft>
                          <a:spcPts val="0"/>
                        </a:spcAft>
                        <a:buClrTx/>
                        <a:buSzTx/>
                        <a:buFont typeface="Arial" charset="0"/>
                        <a:buChar char="•"/>
                        <a:tabLst/>
                        <a:defRPr/>
                      </a:pPr>
                      <a:r>
                        <a:rPr lang="en-US" sz="1200" b="0" i="0" u="none" strike="noStrike" cap="none" spc="0" baseline="0" dirty="0">
                          <a:ln>
                            <a:noFill/>
                          </a:ln>
                          <a:solidFill>
                            <a:srgbClr val="44546A"/>
                          </a:solidFill>
                          <a:uFillTx/>
                          <a:latin typeface="Lato" charset="0"/>
                          <a:ea typeface="Lato" charset="0"/>
                          <a:cs typeface="Lato" charset="0"/>
                          <a:sym typeface="Arial"/>
                        </a:rPr>
                        <a:t>We believe that 2 resource for duration of 1 month will travel onsite during the discovery phase of the project</a:t>
                      </a:r>
                    </a:p>
                    <a:p>
                      <a:pPr marL="180975" marR="0" indent="-180975" algn="l" defTabSz="1218688" rtl="0" eaLnBrk="1" fontAlgn="auto" latinLnBrk="0" hangingPunct="1">
                        <a:lnSpc>
                          <a:spcPct val="100000"/>
                        </a:lnSpc>
                        <a:spcBef>
                          <a:spcPts val="0"/>
                        </a:spcBef>
                        <a:spcAft>
                          <a:spcPts val="0"/>
                        </a:spcAft>
                        <a:buClrTx/>
                        <a:buSzTx/>
                        <a:buFont typeface="Arial" charset="0"/>
                        <a:buChar char="•"/>
                        <a:tabLst/>
                        <a:defRPr/>
                      </a:pPr>
                      <a:r>
                        <a:rPr lang="en-US" sz="1200" b="0" i="0" u="none" strike="noStrike" cap="none" spc="0" baseline="0" dirty="0">
                          <a:ln>
                            <a:noFill/>
                          </a:ln>
                          <a:solidFill>
                            <a:srgbClr val="44546A"/>
                          </a:solidFill>
                          <a:uFillTx/>
                          <a:latin typeface="Lato" charset="0"/>
                          <a:ea typeface="Lato" charset="0"/>
                          <a:cs typeface="Lato" charset="0"/>
                          <a:sym typeface="Arial"/>
                        </a:rPr>
                        <a:t>If any the Innominds resource travels from India to USA, will be charged extra per resource as below:</a:t>
                      </a:r>
                    </a:p>
                    <a:p>
                      <a:pPr marL="403225" marR="0" indent="-168275" algn="l" defTabSz="1218688" rtl="0" eaLnBrk="1" fontAlgn="auto" latinLnBrk="0" hangingPunct="1">
                        <a:lnSpc>
                          <a:spcPct val="100000"/>
                        </a:lnSpc>
                        <a:spcBef>
                          <a:spcPts val="0"/>
                        </a:spcBef>
                        <a:spcAft>
                          <a:spcPts val="0"/>
                        </a:spcAft>
                        <a:buClrTx/>
                        <a:buSzTx/>
                        <a:buFont typeface="System Font Regular"/>
                        <a:buChar char="-"/>
                        <a:tabLst/>
                        <a:defRPr/>
                      </a:pPr>
                      <a:r>
                        <a:rPr lang="en-US" sz="1200" b="0" i="0" u="none" strike="noStrike" cap="none" spc="0" baseline="0" dirty="0">
                          <a:ln>
                            <a:noFill/>
                          </a:ln>
                          <a:solidFill>
                            <a:srgbClr val="44546A"/>
                          </a:solidFill>
                          <a:uFillTx/>
                          <a:latin typeface="Lato" charset="0"/>
                          <a:ea typeface="Lato" charset="0"/>
                          <a:cs typeface="Lato" charset="0"/>
                          <a:sym typeface="Arial"/>
                        </a:rPr>
                        <a:t>Per travel To &amp; Fro economy airfare [India USA rtn] charged at actuals up to a max of USD 3000</a:t>
                      </a:r>
                    </a:p>
                    <a:p>
                      <a:pPr marL="403225" marR="0" indent="-168275" algn="l" defTabSz="1218688" rtl="0" eaLnBrk="1" fontAlgn="auto" latinLnBrk="0" hangingPunct="1">
                        <a:lnSpc>
                          <a:spcPct val="100000"/>
                        </a:lnSpc>
                        <a:spcBef>
                          <a:spcPts val="0"/>
                        </a:spcBef>
                        <a:spcAft>
                          <a:spcPts val="0"/>
                        </a:spcAft>
                        <a:buClrTx/>
                        <a:buSzTx/>
                        <a:buFont typeface="System Font Regular"/>
                        <a:buChar char="-"/>
                        <a:tabLst/>
                        <a:defRPr/>
                      </a:pPr>
                      <a:r>
                        <a:rPr lang="en-US" sz="1200" b="0" i="0" u="none" strike="noStrike" cap="none" spc="0" baseline="0" dirty="0">
                          <a:ln>
                            <a:noFill/>
                          </a:ln>
                          <a:solidFill>
                            <a:srgbClr val="44546A"/>
                          </a:solidFill>
                          <a:uFillTx/>
                          <a:latin typeface="Lato" charset="0"/>
                          <a:ea typeface="Lato" charset="0"/>
                          <a:cs typeface="Lato" charset="0"/>
                          <a:sym typeface="Arial"/>
                        </a:rPr>
                        <a:t>Hotel accommodation, conveyance and living expenses will be charged at USD 250 per day</a:t>
                      </a:r>
                    </a:p>
                    <a:p>
                      <a:pPr marL="180975" marR="0" indent="-180975" algn="l" defTabSz="1218688" rtl="0" eaLnBrk="1" fontAlgn="auto" latinLnBrk="0" hangingPunct="1">
                        <a:lnSpc>
                          <a:spcPct val="100000"/>
                        </a:lnSpc>
                        <a:spcBef>
                          <a:spcPts val="0"/>
                        </a:spcBef>
                        <a:spcAft>
                          <a:spcPts val="0"/>
                        </a:spcAft>
                        <a:buClrTx/>
                        <a:buSzTx/>
                        <a:buFont typeface="Arial" charset="0"/>
                        <a:buChar char="•"/>
                        <a:tabLst/>
                        <a:defRPr/>
                      </a:pPr>
                      <a:r>
                        <a:rPr lang="en-US" sz="1200" b="0" i="0" u="none" strike="noStrike" cap="none" spc="0" baseline="0" dirty="0">
                          <a:ln>
                            <a:noFill/>
                          </a:ln>
                          <a:solidFill>
                            <a:srgbClr val="44546A"/>
                          </a:solidFill>
                          <a:uFillTx/>
                          <a:latin typeface="Lato" charset="0"/>
                          <a:ea typeface="Lato" charset="0"/>
                          <a:cs typeface="Lato" charset="0"/>
                          <a:sym typeface="Arial"/>
                        </a:rPr>
                        <a:t>Above we have provided indicative costs for travel, per diem, accommodation and living expenses</a:t>
                      </a:r>
                    </a:p>
                  </a:txBody>
                  <a:tcPr marL="91378" marR="91378" marT="45689" marB="456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0">
                <a:tc>
                  <a:txBody>
                    <a:bodyPr/>
                    <a:lstStyle/>
                    <a:p>
                      <a:pPr marL="18288" marR="0" indent="-18288" algn="l" defTabSz="1097331" rtl="0" eaLnBrk="1" latinLnBrk="0" hangingPunct="1">
                        <a:lnSpc>
                          <a:spcPct val="100000"/>
                        </a:lnSpc>
                        <a:spcBef>
                          <a:spcPts val="0"/>
                        </a:spcBef>
                        <a:spcAft>
                          <a:spcPts val="0"/>
                        </a:spcAft>
                        <a:buClrTx/>
                        <a:buSzTx/>
                        <a:buFontTx/>
                        <a:buNone/>
                        <a:tabLst/>
                      </a:pPr>
                      <a:r>
                        <a:rPr lang="en-US" sz="1200" b="1" i="0" u="none" strike="noStrike" cap="none" spc="0" baseline="0" dirty="0">
                          <a:ln>
                            <a:noFill/>
                          </a:ln>
                          <a:solidFill>
                            <a:schemeClr val="bg1"/>
                          </a:solidFill>
                          <a:uFillTx/>
                          <a:latin typeface="Lato" charset="0"/>
                          <a:ea typeface="Lato" charset="0"/>
                          <a:cs typeface="Lato" charset="0"/>
                          <a:sym typeface="Arial"/>
                        </a:rPr>
                        <a:t>Taxes</a:t>
                      </a:r>
                    </a:p>
                  </a:txBody>
                  <a:tcPr marL="91378" marR="91378" marT="45689" marB="456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808C"/>
                    </a:solidFill>
                  </a:tcPr>
                </a:tc>
                <a:tc>
                  <a:txBody>
                    <a:bodyPr/>
                    <a:lstStyle/>
                    <a:p>
                      <a:pPr marL="0" marR="0" indent="0" algn="l" defTabSz="1097331" rtl="0" eaLnBrk="1" fontAlgn="auto" latinLnBrk="0" hangingPunct="1">
                        <a:lnSpc>
                          <a:spcPct val="100000"/>
                        </a:lnSpc>
                        <a:spcBef>
                          <a:spcPts val="0"/>
                        </a:spcBef>
                        <a:spcAft>
                          <a:spcPts val="0"/>
                        </a:spcAft>
                        <a:buClrTx/>
                        <a:buSzTx/>
                        <a:buFont typeface="Arial" charset="0"/>
                        <a:buNone/>
                        <a:tabLst/>
                        <a:defRPr/>
                      </a:pPr>
                      <a:r>
                        <a:rPr lang="en-US" sz="1200" b="0" i="0" u="none" strike="noStrike" cap="none" spc="0" baseline="0" dirty="0">
                          <a:ln>
                            <a:noFill/>
                          </a:ln>
                          <a:solidFill>
                            <a:schemeClr val="tx1">
                              <a:lumMod val="75000"/>
                              <a:lumOff val="25000"/>
                            </a:schemeClr>
                          </a:solidFill>
                          <a:uFillTx/>
                          <a:latin typeface="Lato" charset="0"/>
                          <a:ea typeface="Lato" charset="0"/>
                          <a:cs typeface="Lato" charset="0"/>
                          <a:sym typeface="Arial"/>
                        </a:rPr>
                        <a:t>Commercials are exclusive of applicable taxes, if any</a:t>
                      </a:r>
                    </a:p>
                  </a:txBody>
                  <a:tcPr marL="91378" marR="91378" marT="45689" marB="456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959927336"/>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318AC4D-7241-4A28-9F94-0FE216B9504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t="11284" b="4752"/>
          <a:stretch/>
        </p:blipFill>
        <p:spPr>
          <a:xfrm>
            <a:off x="-2" y="784874"/>
            <a:ext cx="12195177" cy="5741936"/>
          </a:xfrm>
          <a:prstGeom prst="rect">
            <a:avLst/>
          </a:prstGeom>
        </p:spPr>
      </p:pic>
      <p:sp>
        <p:nvSpPr>
          <p:cNvPr id="2" name="Title 1">
            <a:extLst>
              <a:ext uri="{FF2B5EF4-FFF2-40B4-BE49-F238E27FC236}">
                <a16:creationId xmlns:a16="http://schemas.microsoft.com/office/drawing/2014/main" id="{1A159384-650A-44AC-84C2-4EC31C942BDF}"/>
              </a:ext>
            </a:extLst>
          </p:cNvPr>
          <p:cNvSpPr>
            <a:spLocks noGrp="1"/>
          </p:cNvSpPr>
          <p:nvPr>
            <p:ph type="title"/>
          </p:nvPr>
        </p:nvSpPr>
        <p:spPr/>
        <p:txBody>
          <a:bodyPr>
            <a:normAutofit/>
          </a:bodyPr>
          <a:lstStyle/>
          <a:p>
            <a:r>
              <a:rPr lang="en-US" sz="2800" dirty="0">
                <a:latin typeface="Lato" panose="020F0502020204030203"/>
              </a:rPr>
              <a:t>Why Innominds</a:t>
            </a:r>
          </a:p>
        </p:txBody>
      </p:sp>
      <p:sp>
        <p:nvSpPr>
          <p:cNvPr id="200" name="Rectangle 5">
            <a:extLst>
              <a:ext uri="{FF2B5EF4-FFF2-40B4-BE49-F238E27FC236}">
                <a16:creationId xmlns:a16="http://schemas.microsoft.com/office/drawing/2014/main" id="{55173D8E-28A1-464B-8093-1304FB496E52}"/>
              </a:ext>
            </a:extLst>
          </p:cNvPr>
          <p:cNvSpPr>
            <a:spLocks noChangeArrowheads="1"/>
          </p:cNvSpPr>
          <p:nvPr/>
        </p:nvSpPr>
        <p:spPr bwMode="auto">
          <a:xfrm>
            <a:off x="1" y="954917"/>
            <a:ext cx="12188823" cy="561011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grpSp>
        <p:nvGrpSpPr>
          <p:cNvPr id="201" name="Group 200">
            <a:extLst>
              <a:ext uri="{FF2B5EF4-FFF2-40B4-BE49-F238E27FC236}">
                <a16:creationId xmlns:a16="http://schemas.microsoft.com/office/drawing/2014/main" id="{FD381D41-3D40-5748-B1A0-43FE4CB3DE7C}"/>
              </a:ext>
            </a:extLst>
          </p:cNvPr>
          <p:cNvGrpSpPr/>
          <p:nvPr/>
        </p:nvGrpSpPr>
        <p:grpSpPr>
          <a:xfrm>
            <a:off x="0" y="971171"/>
            <a:ext cx="8188666" cy="4889436"/>
            <a:chOff x="162962" y="609600"/>
            <a:chExt cx="6148445" cy="3671224"/>
          </a:xfrm>
        </p:grpSpPr>
        <p:grpSp>
          <p:nvGrpSpPr>
            <p:cNvPr id="202" name="Group 201">
              <a:extLst>
                <a:ext uri="{FF2B5EF4-FFF2-40B4-BE49-F238E27FC236}">
                  <a16:creationId xmlns:a16="http://schemas.microsoft.com/office/drawing/2014/main" id="{34CAC7C9-A479-4E43-AC78-733502DC67D2}"/>
                </a:ext>
              </a:extLst>
            </p:cNvPr>
            <p:cNvGrpSpPr/>
            <p:nvPr/>
          </p:nvGrpSpPr>
          <p:grpSpPr>
            <a:xfrm>
              <a:off x="1816227" y="609600"/>
              <a:ext cx="4495180" cy="1945509"/>
              <a:chOff x="2826189" y="-1"/>
              <a:chExt cx="7239533" cy="3133261"/>
            </a:xfrm>
          </p:grpSpPr>
          <p:sp>
            <p:nvSpPr>
              <p:cNvPr id="235" name="Freeform 140">
                <a:extLst>
                  <a:ext uri="{FF2B5EF4-FFF2-40B4-BE49-F238E27FC236}">
                    <a16:creationId xmlns:a16="http://schemas.microsoft.com/office/drawing/2014/main" id="{F12907DA-2007-7845-9410-A83A6F6E7A45}"/>
                  </a:ext>
                </a:extLst>
              </p:cNvPr>
              <p:cNvSpPr>
                <a:spLocks/>
              </p:cNvSpPr>
              <p:nvPr/>
            </p:nvSpPr>
            <p:spPr bwMode="auto">
              <a:xfrm rot="16200000" flipH="1">
                <a:off x="3619415" y="-219330"/>
                <a:ext cx="449811" cy="2036263"/>
              </a:xfrm>
              <a:custGeom>
                <a:avLst/>
                <a:gdLst>
                  <a:gd name="T0" fmla="*/ 203 w 203"/>
                  <a:gd name="T1" fmla="*/ 0 h 764"/>
                  <a:gd name="T2" fmla="*/ 0 w 203"/>
                  <a:gd name="T3" fmla="*/ 536 h 764"/>
                  <a:gd name="T4" fmla="*/ 0 w 203"/>
                  <a:gd name="T5" fmla="*/ 764 h 764"/>
                  <a:gd name="T6" fmla="*/ 203 w 203"/>
                  <a:gd name="T7" fmla="*/ 35 h 764"/>
                  <a:gd name="T8" fmla="*/ 203 w 203"/>
                  <a:gd name="T9" fmla="*/ 0 h 764"/>
                </a:gdLst>
                <a:ahLst/>
                <a:cxnLst>
                  <a:cxn ang="0">
                    <a:pos x="T0" y="T1"/>
                  </a:cxn>
                  <a:cxn ang="0">
                    <a:pos x="T2" y="T3"/>
                  </a:cxn>
                  <a:cxn ang="0">
                    <a:pos x="T4" y="T5"/>
                  </a:cxn>
                  <a:cxn ang="0">
                    <a:pos x="T6" y="T7"/>
                  </a:cxn>
                  <a:cxn ang="0">
                    <a:pos x="T8" y="T9"/>
                  </a:cxn>
                </a:cxnLst>
                <a:rect l="0" t="0" r="r" b="b"/>
                <a:pathLst>
                  <a:path w="203" h="764">
                    <a:moveTo>
                      <a:pt x="203" y="0"/>
                    </a:moveTo>
                    <a:lnTo>
                      <a:pt x="0" y="536"/>
                    </a:lnTo>
                    <a:lnTo>
                      <a:pt x="0" y="764"/>
                    </a:lnTo>
                    <a:lnTo>
                      <a:pt x="203" y="35"/>
                    </a:lnTo>
                    <a:lnTo>
                      <a:pt x="203" y="0"/>
                    </a:lnTo>
                    <a:close/>
                  </a:path>
                </a:pathLst>
              </a:custGeom>
              <a:solidFill>
                <a:schemeClr val="tx1">
                  <a:lumMod val="65000"/>
                  <a:lumOff val="35000"/>
                </a:schemeClr>
              </a:solidFill>
              <a:ln>
                <a:noFill/>
              </a:ln>
            </p:spPr>
            <p:txBody>
              <a:bodyPr vert="horz" wrap="square" lIns="68580" tIns="34290" rIns="68580" bIns="34290" numCol="1" anchor="t" anchorCtr="0" compatLnSpc="1">
                <a:prstTxWarp prst="textNoShape">
                  <a:avLst/>
                </a:prstTxWarp>
              </a:bodyPr>
              <a:lstStyle/>
              <a:p>
                <a:endParaRPr lang="id-ID" sz="1350" dirty="0"/>
              </a:p>
            </p:txBody>
          </p:sp>
          <p:sp>
            <p:nvSpPr>
              <p:cNvPr id="236" name="Rectangle 41">
                <a:extLst>
                  <a:ext uri="{FF2B5EF4-FFF2-40B4-BE49-F238E27FC236}">
                    <a16:creationId xmlns:a16="http://schemas.microsoft.com/office/drawing/2014/main" id="{AE92C34F-18E0-F543-A525-24FCA3D4690C}"/>
                  </a:ext>
                </a:extLst>
              </p:cNvPr>
              <p:cNvSpPr>
                <a:spLocks noChangeArrowheads="1"/>
              </p:cNvSpPr>
              <p:nvPr/>
            </p:nvSpPr>
            <p:spPr bwMode="auto">
              <a:xfrm rot="16200000" flipH="1">
                <a:off x="4274328" y="-19557"/>
                <a:ext cx="573897" cy="613010"/>
              </a:xfrm>
              <a:prstGeom prst="rect">
                <a:avLst/>
              </a:prstGeom>
              <a:solidFill>
                <a:schemeClr val="bg1">
                  <a:lumMod val="50000"/>
                </a:schemeClr>
              </a:solidFill>
              <a:ln>
                <a:noFill/>
              </a:ln>
            </p:spPr>
            <p:txBody>
              <a:bodyPr vert="horz" wrap="square" lIns="68580" tIns="34290" rIns="68580" bIns="34290" numCol="1" anchor="t" anchorCtr="0" compatLnSpc="1">
                <a:prstTxWarp prst="textNoShape">
                  <a:avLst/>
                </a:prstTxWarp>
              </a:bodyPr>
              <a:lstStyle/>
              <a:p>
                <a:endParaRPr lang="id-ID" sz="1350" dirty="0"/>
              </a:p>
            </p:txBody>
          </p:sp>
          <p:grpSp>
            <p:nvGrpSpPr>
              <p:cNvPr id="237" name="Group 236">
                <a:extLst>
                  <a:ext uri="{FF2B5EF4-FFF2-40B4-BE49-F238E27FC236}">
                    <a16:creationId xmlns:a16="http://schemas.microsoft.com/office/drawing/2014/main" id="{D8E8A614-69BD-AF4F-9831-FA28944B6817}"/>
                  </a:ext>
                </a:extLst>
              </p:cNvPr>
              <p:cNvGrpSpPr/>
              <p:nvPr/>
            </p:nvGrpSpPr>
            <p:grpSpPr>
              <a:xfrm>
                <a:off x="2857020" y="1022611"/>
                <a:ext cx="7208702" cy="2110649"/>
                <a:chOff x="2857020" y="1022611"/>
                <a:chExt cx="7208702" cy="2110649"/>
              </a:xfrm>
            </p:grpSpPr>
            <p:sp>
              <p:nvSpPr>
                <p:cNvPr id="238" name="Rectangle 48">
                  <a:extLst>
                    <a:ext uri="{FF2B5EF4-FFF2-40B4-BE49-F238E27FC236}">
                      <a16:creationId xmlns:a16="http://schemas.microsoft.com/office/drawing/2014/main" id="{DB15FF19-A78F-4344-B537-D8FA10CBDA6B}"/>
                    </a:ext>
                  </a:extLst>
                </p:cNvPr>
                <p:cNvSpPr>
                  <a:spLocks noChangeArrowheads="1"/>
                </p:cNvSpPr>
                <p:nvPr/>
              </p:nvSpPr>
              <p:spPr bwMode="auto">
                <a:xfrm rot="16200000" flipH="1" flipV="1">
                  <a:off x="2153006" y="1726625"/>
                  <a:ext cx="1501312" cy="93283"/>
                </a:xfrm>
                <a:prstGeom prst="rect">
                  <a:avLst/>
                </a:prstGeom>
                <a:solidFill>
                  <a:schemeClr val="tx1">
                    <a:lumMod val="65000"/>
                    <a:lumOff val="35000"/>
                  </a:schemeClr>
                </a:solidFill>
                <a:ln>
                  <a:noFill/>
                </a:ln>
              </p:spPr>
              <p:txBody>
                <a:bodyPr vert="horz" wrap="square" lIns="68580" tIns="34290" rIns="68580" bIns="34290" numCol="1" anchor="t" anchorCtr="0" compatLnSpc="1">
                  <a:prstTxWarp prst="textNoShape">
                    <a:avLst/>
                  </a:prstTxWarp>
                </a:bodyPr>
                <a:lstStyle/>
                <a:p>
                  <a:endParaRPr lang="id-ID" dirty="0"/>
                </a:p>
              </p:txBody>
            </p:sp>
            <p:sp>
              <p:nvSpPr>
                <p:cNvPr id="239" name="Freeform 50">
                  <a:extLst>
                    <a:ext uri="{FF2B5EF4-FFF2-40B4-BE49-F238E27FC236}">
                      <a16:creationId xmlns:a16="http://schemas.microsoft.com/office/drawing/2014/main" id="{D6AB11B4-00E0-9048-BCD7-7FD624D7C373}"/>
                    </a:ext>
                  </a:extLst>
                </p:cNvPr>
                <p:cNvSpPr>
                  <a:spLocks/>
                </p:cNvSpPr>
                <p:nvPr/>
              </p:nvSpPr>
              <p:spPr bwMode="auto">
                <a:xfrm rot="16200000" flipH="1" flipV="1">
                  <a:off x="2947645" y="2433298"/>
                  <a:ext cx="381120" cy="562370"/>
                </a:xfrm>
                <a:custGeom>
                  <a:avLst/>
                  <a:gdLst>
                    <a:gd name="T0" fmla="*/ 58 w 73"/>
                    <a:gd name="T1" fmla="*/ 0 h 89"/>
                    <a:gd name="T2" fmla="*/ 58 w 73"/>
                    <a:gd name="T3" fmla="*/ 1 h 89"/>
                    <a:gd name="T4" fmla="*/ 1 w 73"/>
                    <a:gd name="T5" fmla="*/ 74 h 89"/>
                    <a:gd name="T6" fmla="*/ 0 w 73"/>
                    <a:gd name="T7" fmla="*/ 74 h 89"/>
                    <a:gd name="T8" fmla="*/ 0 w 73"/>
                    <a:gd name="T9" fmla="*/ 89 h 89"/>
                    <a:gd name="T10" fmla="*/ 1 w 73"/>
                    <a:gd name="T11" fmla="*/ 89 h 89"/>
                    <a:gd name="T12" fmla="*/ 58 w 73"/>
                    <a:gd name="T13" fmla="*/ 60 h 89"/>
                    <a:gd name="T14" fmla="*/ 73 w 73"/>
                    <a:gd name="T15" fmla="*/ 1 h 89"/>
                    <a:gd name="T16" fmla="*/ 73 w 73"/>
                    <a:gd name="T17" fmla="*/ 0 h 89"/>
                    <a:gd name="T18" fmla="*/ 58 w 73"/>
                    <a:gd name="T1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89">
                      <a:moveTo>
                        <a:pt x="58" y="0"/>
                      </a:moveTo>
                      <a:cubicBezTo>
                        <a:pt x="58" y="1"/>
                        <a:pt x="58" y="1"/>
                        <a:pt x="58" y="1"/>
                      </a:cubicBezTo>
                      <a:cubicBezTo>
                        <a:pt x="58" y="23"/>
                        <a:pt x="52" y="74"/>
                        <a:pt x="1" y="74"/>
                      </a:cubicBezTo>
                      <a:cubicBezTo>
                        <a:pt x="0" y="74"/>
                        <a:pt x="0" y="74"/>
                        <a:pt x="0" y="74"/>
                      </a:cubicBezTo>
                      <a:cubicBezTo>
                        <a:pt x="0" y="89"/>
                        <a:pt x="0" y="89"/>
                        <a:pt x="0" y="89"/>
                      </a:cubicBezTo>
                      <a:cubicBezTo>
                        <a:pt x="1" y="89"/>
                        <a:pt x="1" y="89"/>
                        <a:pt x="1" y="89"/>
                      </a:cubicBezTo>
                      <a:cubicBezTo>
                        <a:pt x="26" y="89"/>
                        <a:pt x="45" y="79"/>
                        <a:pt x="58" y="60"/>
                      </a:cubicBezTo>
                      <a:cubicBezTo>
                        <a:pt x="71" y="41"/>
                        <a:pt x="73" y="17"/>
                        <a:pt x="73" y="1"/>
                      </a:cubicBezTo>
                      <a:cubicBezTo>
                        <a:pt x="73" y="0"/>
                        <a:pt x="73" y="0"/>
                        <a:pt x="73" y="0"/>
                      </a:cubicBezTo>
                      <a:lnTo>
                        <a:pt x="58" y="0"/>
                      </a:lnTo>
                      <a:close/>
                    </a:path>
                  </a:pathLst>
                </a:custGeom>
                <a:solidFill>
                  <a:schemeClr val="tx1">
                    <a:lumMod val="65000"/>
                    <a:lumOff val="35000"/>
                  </a:schemeClr>
                </a:solidFill>
                <a:ln>
                  <a:noFill/>
                </a:ln>
              </p:spPr>
              <p:txBody>
                <a:bodyPr vert="horz" wrap="square" lIns="68580" tIns="34290" rIns="68580" bIns="34290" numCol="1" anchor="t" anchorCtr="0" compatLnSpc="1">
                  <a:prstTxWarp prst="textNoShape">
                    <a:avLst/>
                  </a:prstTxWarp>
                </a:bodyPr>
                <a:lstStyle/>
                <a:p>
                  <a:endParaRPr lang="id-ID" dirty="0"/>
                </a:p>
              </p:txBody>
            </p:sp>
            <p:sp>
              <p:nvSpPr>
                <p:cNvPr id="240" name="Rectangle 48">
                  <a:extLst>
                    <a:ext uri="{FF2B5EF4-FFF2-40B4-BE49-F238E27FC236}">
                      <a16:creationId xmlns:a16="http://schemas.microsoft.com/office/drawing/2014/main" id="{68FDF6F9-19F3-FC40-8CC1-D1BEB072D54F}"/>
                    </a:ext>
                  </a:extLst>
                </p:cNvPr>
                <p:cNvSpPr>
                  <a:spLocks noChangeArrowheads="1"/>
                </p:cNvSpPr>
                <p:nvPr/>
              </p:nvSpPr>
              <p:spPr bwMode="auto">
                <a:xfrm rot="10800000" flipH="1" flipV="1">
                  <a:off x="3401371" y="2828203"/>
                  <a:ext cx="6120000" cy="79200"/>
                </a:xfrm>
                <a:prstGeom prst="rect">
                  <a:avLst/>
                </a:prstGeom>
                <a:solidFill>
                  <a:schemeClr val="tx1">
                    <a:lumMod val="65000"/>
                    <a:lumOff val="35000"/>
                  </a:schemeClr>
                </a:solidFill>
                <a:ln>
                  <a:noFill/>
                </a:ln>
              </p:spPr>
              <p:txBody>
                <a:bodyPr vert="horz" wrap="square" lIns="68580" tIns="34290" rIns="68580" bIns="34290" numCol="1" anchor="t" anchorCtr="0" compatLnSpc="1">
                  <a:prstTxWarp prst="textNoShape">
                    <a:avLst/>
                  </a:prstTxWarp>
                </a:bodyPr>
                <a:lstStyle/>
                <a:p>
                  <a:endParaRPr lang="id-ID" dirty="0"/>
                </a:p>
              </p:txBody>
            </p:sp>
            <p:sp>
              <p:nvSpPr>
                <p:cNvPr id="241" name="Oval 240">
                  <a:extLst>
                    <a:ext uri="{FF2B5EF4-FFF2-40B4-BE49-F238E27FC236}">
                      <a16:creationId xmlns:a16="http://schemas.microsoft.com/office/drawing/2014/main" id="{27715935-311B-A848-8743-F3577DC2B200}"/>
                    </a:ext>
                  </a:extLst>
                </p:cNvPr>
                <p:cNvSpPr/>
                <p:nvPr/>
              </p:nvSpPr>
              <p:spPr>
                <a:xfrm>
                  <a:off x="9525722" y="2593260"/>
                  <a:ext cx="540000" cy="540000"/>
                </a:xfrm>
                <a:prstGeom prst="ellipse">
                  <a:avLst/>
                </a:prstGeom>
                <a:solidFill>
                  <a:schemeClr val="bg1">
                    <a:lumMod val="95000"/>
                  </a:schemeClr>
                </a:solidFill>
                <a:ln w="698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lumMod val="75000"/>
                          <a:lumOff val="25000"/>
                        </a:schemeClr>
                      </a:solidFill>
                      <a:latin typeface="Lato Bold" panose="020F0502020204030203" pitchFamily="34" charset="0"/>
                      <a:ea typeface="Lato Bold" panose="020F0502020204030203" pitchFamily="34" charset="0"/>
                      <a:cs typeface="Lato Bold" panose="020F0502020204030203" pitchFamily="34" charset="0"/>
                    </a:rPr>
                    <a:t>1</a:t>
                  </a:r>
                  <a:endParaRPr lang="id-ID" sz="1600" dirty="0">
                    <a:solidFill>
                      <a:schemeClr val="tx1">
                        <a:lumMod val="75000"/>
                        <a:lumOff val="25000"/>
                      </a:schemeClr>
                    </a:solidFill>
                    <a:latin typeface="Lato Bold" panose="020F0502020204030203" pitchFamily="34" charset="0"/>
                    <a:ea typeface="Lato Bold" panose="020F0502020204030203" pitchFamily="34" charset="0"/>
                    <a:cs typeface="Lato Bold" panose="020F0502020204030203" pitchFamily="34" charset="0"/>
                  </a:endParaRPr>
                </a:p>
              </p:txBody>
            </p:sp>
          </p:grpSp>
        </p:grpSp>
        <p:grpSp>
          <p:nvGrpSpPr>
            <p:cNvPr id="203" name="Group 202">
              <a:extLst>
                <a:ext uri="{FF2B5EF4-FFF2-40B4-BE49-F238E27FC236}">
                  <a16:creationId xmlns:a16="http://schemas.microsoft.com/office/drawing/2014/main" id="{48747D50-6ACC-7A43-88E7-9416810FF1B1}"/>
                </a:ext>
              </a:extLst>
            </p:cNvPr>
            <p:cNvGrpSpPr/>
            <p:nvPr/>
          </p:nvGrpSpPr>
          <p:grpSpPr>
            <a:xfrm>
              <a:off x="1705285" y="609601"/>
              <a:ext cx="4148179" cy="2350293"/>
              <a:chOff x="2647516" y="0"/>
              <a:chExt cx="6680684" cy="3785170"/>
            </a:xfrm>
          </p:grpSpPr>
          <p:sp>
            <p:nvSpPr>
              <p:cNvPr id="228" name="Freeform 133">
                <a:extLst>
                  <a:ext uri="{FF2B5EF4-FFF2-40B4-BE49-F238E27FC236}">
                    <a16:creationId xmlns:a16="http://schemas.microsoft.com/office/drawing/2014/main" id="{3B0F1E9E-542D-864D-A69F-E282B4D01542}"/>
                  </a:ext>
                </a:extLst>
              </p:cNvPr>
              <p:cNvSpPr>
                <a:spLocks/>
              </p:cNvSpPr>
              <p:nvPr/>
            </p:nvSpPr>
            <p:spPr bwMode="auto">
              <a:xfrm rot="16200000" flipH="1">
                <a:off x="3025494" y="208447"/>
                <a:ext cx="440948" cy="1180712"/>
              </a:xfrm>
              <a:custGeom>
                <a:avLst/>
                <a:gdLst>
                  <a:gd name="T0" fmla="*/ 199 w 199"/>
                  <a:gd name="T1" fmla="*/ 0 h 443"/>
                  <a:gd name="T2" fmla="*/ 0 w 199"/>
                  <a:gd name="T3" fmla="*/ 218 h 443"/>
                  <a:gd name="T4" fmla="*/ 0 w 199"/>
                  <a:gd name="T5" fmla="*/ 443 h 443"/>
                  <a:gd name="T6" fmla="*/ 199 w 199"/>
                  <a:gd name="T7" fmla="*/ 35 h 443"/>
                  <a:gd name="T8" fmla="*/ 199 w 199"/>
                  <a:gd name="T9" fmla="*/ 0 h 443"/>
                </a:gdLst>
                <a:ahLst/>
                <a:cxnLst>
                  <a:cxn ang="0">
                    <a:pos x="T0" y="T1"/>
                  </a:cxn>
                  <a:cxn ang="0">
                    <a:pos x="T2" y="T3"/>
                  </a:cxn>
                  <a:cxn ang="0">
                    <a:pos x="T4" y="T5"/>
                  </a:cxn>
                  <a:cxn ang="0">
                    <a:pos x="T6" y="T7"/>
                  </a:cxn>
                  <a:cxn ang="0">
                    <a:pos x="T8" y="T9"/>
                  </a:cxn>
                </a:cxnLst>
                <a:rect l="0" t="0" r="r" b="b"/>
                <a:pathLst>
                  <a:path w="199" h="443">
                    <a:moveTo>
                      <a:pt x="199" y="0"/>
                    </a:moveTo>
                    <a:lnTo>
                      <a:pt x="0" y="218"/>
                    </a:lnTo>
                    <a:lnTo>
                      <a:pt x="0" y="443"/>
                    </a:lnTo>
                    <a:lnTo>
                      <a:pt x="199" y="35"/>
                    </a:lnTo>
                    <a:lnTo>
                      <a:pt x="199" y="0"/>
                    </a:lnTo>
                    <a:close/>
                  </a:path>
                </a:pathLst>
              </a:custGeom>
              <a:solidFill>
                <a:schemeClr val="bg1">
                  <a:lumMod val="50000"/>
                </a:schemeClr>
              </a:solidFill>
              <a:ln>
                <a:noFill/>
              </a:ln>
            </p:spPr>
            <p:txBody>
              <a:bodyPr vert="horz" wrap="square" lIns="68580" tIns="34290" rIns="68580" bIns="34290" numCol="1" anchor="t" anchorCtr="0" compatLnSpc="1">
                <a:prstTxWarp prst="textNoShape">
                  <a:avLst/>
                </a:prstTxWarp>
              </a:bodyPr>
              <a:lstStyle/>
              <a:p>
                <a:endParaRPr lang="id-ID" sz="1350" dirty="0"/>
              </a:p>
            </p:txBody>
          </p:sp>
          <p:sp>
            <p:nvSpPr>
              <p:cNvPr id="229" name="Rectangle 40">
                <a:extLst>
                  <a:ext uri="{FF2B5EF4-FFF2-40B4-BE49-F238E27FC236}">
                    <a16:creationId xmlns:a16="http://schemas.microsoft.com/office/drawing/2014/main" id="{FD3F4828-5EFF-8640-906E-2BE0D5671BD0}"/>
                  </a:ext>
                </a:extLst>
              </p:cNvPr>
              <p:cNvSpPr>
                <a:spLocks noChangeArrowheads="1"/>
              </p:cNvSpPr>
              <p:nvPr/>
            </p:nvSpPr>
            <p:spPr bwMode="auto">
              <a:xfrm rot="16200000" flipH="1">
                <a:off x="3239771" y="-8462"/>
                <a:ext cx="582760" cy="599683"/>
              </a:xfrm>
              <a:prstGeom prst="rect">
                <a:avLst/>
              </a:prstGeom>
              <a:solidFill>
                <a:schemeClr val="bg1">
                  <a:lumMod val="65000"/>
                </a:schemeClr>
              </a:solidFill>
              <a:ln>
                <a:noFill/>
              </a:ln>
            </p:spPr>
            <p:txBody>
              <a:bodyPr vert="horz" wrap="square" lIns="68580" tIns="34290" rIns="68580" bIns="34290" numCol="1" anchor="t" anchorCtr="0" compatLnSpc="1">
                <a:prstTxWarp prst="textNoShape">
                  <a:avLst/>
                </a:prstTxWarp>
              </a:bodyPr>
              <a:lstStyle/>
              <a:p>
                <a:endParaRPr lang="id-ID" sz="1350" dirty="0"/>
              </a:p>
            </p:txBody>
          </p:sp>
          <p:grpSp>
            <p:nvGrpSpPr>
              <p:cNvPr id="230" name="Group 229">
                <a:extLst>
                  <a:ext uri="{FF2B5EF4-FFF2-40B4-BE49-F238E27FC236}">
                    <a16:creationId xmlns:a16="http://schemas.microsoft.com/office/drawing/2014/main" id="{D3C791BF-DF6F-5A46-8C1D-6E9F9ADD57E6}"/>
                  </a:ext>
                </a:extLst>
              </p:cNvPr>
              <p:cNvGrpSpPr/>
              <p:nvPr/>
            </p:nvGrpSpPr>
            <p:grpSpPr>
              <a:xfrm>
                <a:off x="2647516" y="1018374"/>
                <a:ext cx="6680684" cy="2766796"/>
                <a:chOff x="2647516" y="1018374"/>
                <a:chExt cx="6680684" cy="2766796"/>
              </a:xfrm>
            </p:grpSpPr>
            <p:sp>
              <p:nvSpPr>
                <p:cNvPr id="231" name="Freeform 52">
                  <a:extLst>
                    <a:ext uri="{FF2B5EF4-FFF2-40B4-BE49-F238E27FC236}">
                      <a16:creationId xmlns:a16="http://schemas.microsoft.com/office/drawing/2014/main" id="{ACAD52AD-6670-7F4E-AC8B-59EF476D9B20}"/>
                    </a:ext>
                  </a:extLst>
                </p:cNvPr>
                <p:cNvSpPr>
                  <a:spLocks/>
                </p:cNvSpPr>
                <p:nvPr/>
              </p:nvSpPr>
              <p:spPr bwMode="auto">
                <a:xfrm rot="16200000" flipH="1">
                  <a:off x="1614316" y="2051574"/>
                  <a:ext cx="2159999" cy="93600"/>
                </a:xfrm>
                <a:custGeom>
                  <a:avLst/>
                  <a:gdLst>
                    <a:gd name="T0" fmla="*/ 0 w 501"/>
                    <a:gd name="T1" fmla="*/ 2 h 17"/>
                    <a:gd name="T2" fmla="*/ 0 w 501"/>
                    <a:gd name="T3" fmla="*/ 17 h 17"/>
                    <a:gd name="T4" fmla="*/ 501 w 501"/>
                    <a:gd name="T5" fmla="*/ 17 h 17"/>
                    <a:gd name="T6" fmla="*/ 501 w 501"/>
                    <a:gd name="T7" fmla="*/ 1 h 17"/>
                    <a:gd name="T8" fmla="*/ 0 w 501"/>
                    <a:gd name="T9" fmla="*/ 2 h 17"/>
                  </a:gdLst>
                  <a:ahLst/>
                  <a:cxnLst>
                    <a:cxn ang="0">
                      <a:pos x="T0" y="T1"/>
                    </a:cxn>
                    <a:cxn ang="0">
                      <a:pos x="T2" y="T3"/>
                    </a:cxn>
                    <a:cxn ang="0">
                      <a:pos x="T4" y="T5"/>
                    </a:cxn>
                    <a:cxn ang="0">
                      <a:pos x="T6" y="T7"/>
                    </a:cxn>
                    <a:cxn ang="0">
                      <a:pos x="T8" y="T9"/>
                    </a:cxn>
                  </a:cxnLst>
                  <a:rect l="0" t="0" r="r" b="b"/>
                  <a:pathLst>
                    <a:path w="501" h="17">
                      <a:moveTo>
                        <a:pt x="0" y="2"/>
                      </a:moveTo>
                      <a:cubicBezTo>
                        <a:pt x="0" y="17"/>
                        <a:pt x="0" y="17"/>
                        <a:pt x="0" y="17"/>
                      </a:cubicBezTo>
                      <a:cubicBezTo>
                        <a:pt x="4" y="17"/>
                        <a:pt x="447" y="15"/>
                        <a:pt x="501" y="17"/>
                      </a:cubicBezTo>
                      <a:cubicBezTo>
                        <a:pt x="501" y="1"/>
                        <a:pt x="501" y="1"/>
                        <a:pt x="501" y="1"/>
                      </a:cubicBezTo>
                      <a:cubicBezTo>
                        <a:pt x="443" y="0"/>
                        <a:pt x="18" y="2"/>
                        <a:pt x="0" y="2"/>
                      </a:cubicBezTo>
                      <a:close/>
                    </a:path>
                  </a:pathLst>
                </a:custGeom>
                <a:solidFill>
                  <a:schemeClr val="bg1">
                    <a:lumMod val="50000"/>
                  </a:schemeClr>
                </a:solidFill>
                <a:ln>
                  <a:noFill/>
                </a:ln>
              </p:spPr>
              <p:txBody>
                <a:bodyPr vert="horz" wrap="square" lIns="68580" tIns="34290" rIns="68580" bIns="34290" numCol="1" anchor="t" anchorCtr="0" compatLnSpc="1">
                  <a:prstTxWarp prst="textNoShape">
                    <a:avLst/>
                  </a:prstTxWarp>
                </a:bodyPr>
                <a:lstStyle/>
                <a:p>
                  <a:endParaRPr lang="id-ID" sz="1350" dirty="0"/>
                </a:p>
              </p:txBody>
            </p:sp>
            <p:sp>
              <p:nvSpPr>
                <p:cNvPr id="232" name="Freeform 50">
                  <a:extLst>
                    <a:ext uri="{FF2B5EF4-FFF2-40B4-BE49-F238E27FC236}">
                      <a16:creationId xmlns:a16="http://schemas.microsoft.com/office/drawing/2014/main" id="{87980420-5215-4240-A7A3-A0FBAC50BD1B}"/>
                    </a:ext>
                  </a:extLst>
                </p:cNvPr>
                <p:cNvSpPr>
                  <a:spLocks/>
                </p:cNvSpPr>
                <p:nvPr/>
              </p:nvSpPr>
              <p:spPr bwMode="auto">
                <a:xfrm rot="16200000" flipH="1" flipV="1">
                  <a:off x="2743113" y="3081776"/>
                  <a:ext cx="381120" cy="562370"/>
                </a:xfrm>
                <a:custGeom>
                  <a:avLst/>
                  <a:gdLst>
                    <a:gd name="T0" fmla="*/ 58 w 73"/>
                    <a:gd name="T1" fmla="*/ 0 h 89"/>
                    <a:gd name="T2" fmla="*/ 58 w 73"/>
                    <a:gd name="T3" fmla="*/ 1 h 89"/>
                    <a:gd name="T4" fmla="*/ 1 w 73"/>
                    <a:gd name="T5" fmla="*/ 74 h 89"/>
                    <a:gd name="T6" fmla="*/ 0 w 73"/>
                    <a:gd name="T7" fmla="*/ 74 h 89"/>
                    <a:gd name="T8" fmla="*/ 0 w 73"/>
                    <a:gd name="T9" fmla="*/ 89 h 89"/>
                    <a:gd name="T10" fmla="*/ 1 w 73"/>
                    <a:gd name="T11" fmla="*/ 89 h 89"/>
                    <a:gd name="T12" fmla="*/ 58 w 73"/>
                    <a:gd name="T13" fmla="*/ 60 h 89"/>
                    <a:gd name="T14" fmla="*/ 73 w 73"/>
                    <a:gd name="T15" fmla="*/ 1 h 89"/>
                    <a:gd name="T16" fmla="*/ 73 w 73"/>
                    <a:gd name="T17" fmla="*/ 0 h 89"/>
                    <a:gd name="T18" fmla="*/ 58 w 73"/>
                    <a:gd name="T1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89">
                      <a:moveTo>
                        <a:pt x="58" y="0"/>
                      </a:moveTo>
                      <a:cubicBezTo>
                        <a:pt x="58" y="1"/>
                        <a:pt x="58" y="1"/>
                        <a:pt x="58" y="1"/>
                      </a:cubicBezTo>
                      <a:cubicBezTo>
                        <a:pt x="58" y="23"/>
                        <a:pt x="52" y="74"/>
                        <a:pt x="1" y="74"/>
                      </a:cubicBezTo>
                      <a:cubicBezTo>
                        <a:pt x="0" y="74"/>
                        <a:pt x="0" y="74"/>
                        <a:pt x="0" y="74"/>
                      </a:cubicBezTo>
                      <a:cubicBezTo>
                        <a:pt x="0" y="89"/>
                        <a:pt x="0" y="89"/>
                        <a:pt x="0" y="89"/>
                      </a:cubicBezTo>
                      <a:cubicBezTo>
                        <a:pt x="1" y="89"/>
                        <a:pt x="1" y="89"/>
                        <a:pt x="1" y="89"/>
                      </a:cubicBezTo>
                      <a:cubicBezTo>
                        <a:pt x="26" y="89"/>
                        <a:pt x="45" y="79"/>
                        <a:pt x="58" y="60"/>
                      </a:cubicBezTo>
                      <a:cubicBezTo>
                        <a:pt x="71" y="41"/>
                        <a:pt x="73" y="17"/>
                        <a:pt x="73" y="1"/>
                      </a:cubicBezTo>
                      <a:cubicBezTo>
                        <a:pt x="73" y="0"/>
                        <a:pt x="73" y="0"/>
                        <a:pt x="73" y="0"/>
                      </a:cubicBezTo>
                      <a:lnTo>
                        <a:pt x="58" y="0"/>
                      </a:lnTo>
                      <a:close/>
                    </a:path>
                  </a:pathLst>
                </a:custGeom>
                <a:solidFill>
                  <a:schemeClr val="bg1">
                    <a:lumMod val="50000"/>
                  </a:schemeClr>
                </a:solidFill>
                <a:ln>
                  <a:noFill/>
                </a:ln>
              </p:spPr>
              <p:txBody>
                <a:bodyPr vert="horz" wrap="square" lIns="68580" tIns="34290" rIns="68580" bIns="34290" numCol="1" anchor="t" anchorCtr="0" compatLnSpc="1">
                  <a:prstTxWarp prst="textNoShape">
                    <a:avLst/>
                  </a:prstTxWarp>
                </a:bodyPr>
                <a:lstStyle/>
                <a:p>
                  <a:endParaRPr lang="id-ID" dirty="0"/>
                </a:p>
              </p:txBody>
            </p:sp>
            <p:sp>
              <p:nvSpPr>
                <p:cNvPr id="233" name="Freeform 138">
                  <a:extLst>
                    <a:ext uri="{FF2B5EF4-FFF2-40B4-BE49-F238E27FC236}">
                      <a16:creationId xmlns:a16="http://schemas.microsoft.com/office/drawing/2014/main" id="{726D267E-F431-6946-ADA2-B385D2C51C2D}"/>
                    </a:ext>
                  </a:extLst>
                </p:cNvPr>
                <p:cNvSpPr>
                  <a:spLocks/>
                </p:cNvSpPr>
                <p:nvPr/>
              </p:nvSpPr>
              <p:spPr bwMode="auto">
                <a:xfrm flipH="1">
                  <a:off x="3200344" y="3475570"/>
                  <a:ext cx="5580000" cy="79200"/>
                </a:xfrm>
                <a:custGeom>
                  <a:avLst/>
                  <a:gdLst>
                    <a:gd name="T0" fmla="*/ 0 w 501"/>
                    <a:gd name="T1" fmla="*/ 2 h 17"/>
                    <a:gd name="T2" fmla="*/ 0 w 501"/>
                    <a:gd name="T3" fmla="*/ 17 h 17"/>
                    <a:gd name="T4" fmla="*/ 501 w 501"/>
                    <a:gd name="T5" fmla="*/ 17 h 17"/>
                    <a:gd name="T6" fmla="*/ 501 w 501"/>
                    <a:gd name="T7" fmla="*/ 1 h 17"/>
                    <a:gd name="T8" fmla="*/ 0 w 501"/>
                    <a:gd name="T9" fmla="*/ 2 h 17"/>
                  </a:gdLst>
                  <a:ahLst/>
                  <a:cxnLst>
                    <a:cxn ang="0">
                      <a:pos x="T0" y="T1"/>
                    </a:cxn>
                    <a:cxn ang="0">
                      <a:pos x="T2" y="T3"/>
                    </a:cxn>
                    <a:cxn ang="0">
                      <a:pos x="T4" y="T5"/>
                    </a:cxn>
                    <a:cxn ang="0">
                      <a:pos x="T6" y="T7"/>
                    </a:cxn>
                    <a:cxn ang="0">
                      <a:pos x="T8" y="T9"/>
                    </a:cxn>
                  </a:cxnLst>
                  <a:rect l="0" t="0" r="r" b="b"/>
                  <a:pathLst>
                    <a:path w="501" h="17">
                      <a:moveTo>
                        <a:pt x="0" y="2"/>
                      </a:moveTo>
                      <a:cubicBezTo>
                        <a:pt x="0" y="17"/>
                        <a:pt x="0" y="17"/>
                        <a:pt x="0" y="17"/>
                      </a:cubicBezTo>
                      <a:cubicBezTo>
                        <a:pt x="4" y="17"/>
                        <a:pt x="447" y="15"/>
                        <a:pt x="501" y="17"/>
                      </a:cubicBezTo>
                      <a:cubicBezTo>
                        <a:pt x="501" y="1"/>
                        <a:pt x="501" y="1"/>
                        <a:pt x="501" y="1"/>
                      </a:cubicBezTo>
                      <a:cubicBezTo>
                        <a:pt x="443" y="0"/>
                        <a:pt x="18" y="2"/>
                        <a:pt x="0" y="2"/>
                      </a:cubicBezTo>
                      <a:close/>
                    </a:path>
                  </a:pathLst>
                </a:custGeom>
                <a:solidFill>
                  <a:schemeClr val="bg1">
                    <a:lumMod val="50000"/>
                  </a:schemeClr>
                </a:solidFill>
                <a:ln>
                  <a:noFill/>
                </a:ln>
              </p:spPr>
              <p:txBody>
                <a:bodyPr vert="horz" wrap="square" lIns="68580" tIns="34290" rIns="68580" bIns="34290" numCol="1" anchor="t" anchorCtr="0" compatLnSpc="1">
                  <a:prstTxWarp prst="textNoShape">
                    <a:avLst/>
                  </a:prstTxWarp>
                </a:bodyPr>
                <a:lstStyle/>
                <a:p>
                  <a:endParaRPr lang="id-ID" sz="1350" dirty="0"/>
                </a:p>
              </p:txBody>
            </p:sp>
            <p:sp>
              <p:nvSpPr>
                <p:cNvPr id="234" name="Oval 233">
                  <a:extLst>
                    <a:ext uri="{FF2B5EF4-FFF2-40B4-BE49-F238E27FC236}">
                      <a16:creationId xmlns:a16="http://schemas.microsoft.com/office/drawing/2014/main" id="{B76B2DA1-4F3B-7440-893C-5A9EA58E40D4}"/>
                    </a:ext>
                  </a:extLst>
                </p:cNvPr>
                <p:cNvSpPr/>
                <p:nvPr/>
              </p:nvSpPr>
              <p:spPr>
                <a:xfrm>
                  <a:off x="8788200" y="3245170"/>
                  <a:ext cx="540000" cy="540000"/>
                </a:xfrm>
                <a:prstGeom prst="ellipse">
                  <a:avLst/>
                </a:prstGeom>
                <a:solidFill>
                  <a:schemeClr val="bg1">
                    <a:lumMod val="95000"/>
                  </a:schemeClr>
                </a:solidFill>
                <a:ln w="69850">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lumMod val="75000"/>
                          <a:lumOff val="25000"/>
                        </a:schemeClr>
                      </a:solidFill>
                      <a:latin typeface="Lato Bold" panose="020F0502020204030203" pitchFamily="34" charset="0"/>
                      <a:ea typeface="Lato Bold" panose="020F0502020204030203" pitchFamily="34" charset="0"/>
                      <a:cs typeface="Lato Bold" panose="020F0502020204030203" pitchFamily="34" charset="0"/>
                    </a:rPr>
                    <a:t>2</a:t>
                  </a:r>
                  <a:endParaRPr lang="id-ID" sz="1600" dirty="0">
                    <a:solidFill>
                      <a:schemeClr val="tx1">
                        <a:lumMod val="75000"/>
                        <a:lumOff val="25000"/>
                      </a:schemeClr>
                    </a:solidFill>
                    <a:latin typeface="Lato Bold" panose="020F0502020204030203" pitchFamily="34" charset="0"/>
                    <a:ea typeface="Lato Bold" panose="020F0502020204030203" pitchFamily="34" charset="0"/>
                    <a:cs typeface="Lato Bold" panose="020F0502020204030203" pitchFamily="34" charset="0"/>
                  </a:endParaRPr>
                </a:p>
              </p:txBody>
            </p:sp>
          </p:grpSp>
        </p:grpSp>
        <p:grpSp>
          <p:nvGrpSpPr>
            <p:cNvPr id="204" name="Group 203">
              <a:extLst>
                <a:ext uri="{FF2B5EF4-FFF2-40B4-BE49-F238E27FC236}">
                  <a16:creationId xmlns:a16="http://schemas.microsoft.com/office/drawing/2014/main" id="{D2BE2C27-9DF9-3D47-9CF2-6A4A683D8B9B}"/>
                </a:ext>
              </a:extLst>
            </p:cNvPr>
            <p:cNvGrpSpPr/>
            <p:nvPr/>
          </p:nvGrpSpPr>
          <p:grpSpPr>
            <a:xfrm>
              <a:off x="1430630" y="609600"/>
              <a:ext cx="3966213" cy="2757693"/>
              <a:chOff x="2205182" y="-1"/>
              <a:chExt cx="6387625" cy="4441292"/>
            </a:xfrm>
          </p:grpSpPr>
          <p:sp>
            <p:nvSpPr>
              <p:cNvPr id="221" name="Freeform 126">
                <a:extLst>
                  <a:ext uri="{FF2B5EF4-FFF2-40B4-BE49-F238E27FC236}">
                    <a16:creationId xmlns:a16="http://schemas.microsoft.com/office/drawing/2014/main" id="{70B1094C-D2B1-F44A-8DB2-1BDC11DEA8B5}"/>
                  </a:ext>
                </a:extLst>
              </p:cNvPr>
              <p:cNvSpPr>
                <a:spLocks/>
              </p:cNvSpPr>
              <p:nvPr/>
            </p:nvSpPr>
            <p:spPr bwMode="auto">
              <a:xfrm rot="16200000" flipH="1">
                <a:off x="2291423" y="492088"/>
                <a:ext cx="429868" cy="602350"/>
              </a:xfrm>
              <a:custGeom>
                <a:avLst/>
                <a:gdLst>
                  <a:gd name="T0" fmla="*/ 194 w 194"/>
                  <a:gd name="T1" fmla="*/ 98 h 226"/>
                  <a:gd name="T2" fmla="*/ 0 w 194"/>
                  <a:gd name="T3" fmla="*/ 0 h 226"/>
                  <a:gd name="T4" fmla="*/ 0 w 194"/>
                  <a:gd name="T5" fmla="*/ 226 h 226"/>
                  <a:gd name="T6" fmla="*/ 194 w 194"/>
                  <a:gd name="T7" fmla="*/ 133 h 226"/>
                  <a:gd name="T8" fmla="*/ 194 w 194"/>
                  <a:gd name="T9" fmla="*/ 98 h 226"/>
                </a:gdLst>
                <a:ahLst/>
                <a:cxnLst>
                  <a:cxn ang="0">
                    <a:pos x="T0" y="T1"/>
                  </a:cxn>
                  <a:cxn ang="0">
                    <a:pos x="T2" y="T3"/>
                  </a:cxn>
                  <a:cxn ang="0">
                    <a:pos x="T4" y="T5"/>
                  </a:cxn>
                  <a:cxn ang="0">
                    <a:pos x="T6" y="T7"/>
                  </a:cxn>
                  <a:cxn ang="0">
                    <a:pos x="T8" y="T9"/>
                  </a:cxn>
                </a:cxnLst>
                <a:rect l="0" t="0" r="r" b="b"/>
                <a:pathLst>
                  <a:path w="194" h="226">
                    <a:moveTo>
                      <a:pt x="194" y="98"/>
                    </a:moveTo>
                    <a:lnTo>
                      <a:pt x="0" y="0"/>
                    </a:lnTo>
                    <a:lnTo>
                      <a:pt x="0" y="226"/>
                    </a:lnTo>
                    <a:lnTo>
                      <a:pt x="194" y="133"/>
                    </a:lnTo>
                    <a:lnTo>
                      <a:pt x="194" y="98"/>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id-ID" sz="1350" dirty="0"/>
              </a:p>
            </p:txBody>
          </p:sp>
          <p:sp>
            <p:nvSpPr>
              <p:cNvPr id="222" name="Rectangle 39">
                <a:extLst>
                  <a:ext uri="{FF2B5EF4-FFF2-40B4-BE49-F238E27FC236}">
                    <a16:creationId xmlns:a16="http://schemas.microsoft.com/office/drawing/2014/main" id="{C9E9D22D-6B3F-E646-9289-85124A17B6D9}"/>
                  </a:ext>
                </a:extLst>
              </p:cNvPr>
              <p:cNvSpPr>
                <a:spLocks noChangeArrowheads="1"/>
              </p:cNvSpPr>
              <p:nvPr/>
            </p:nvSpPr>
            <p:spPr bwMode="auto">
              <a:xfrm rot="16200000" flipH="1">
                <a:off x="2217193" y="-12011"/>
                <a:ext cx="578329" cy="602350"/>
              </a:xfrm>
              <a:prstGeom prst="rect">
                <a:avLst/>
              </a:prstGeom>
              <a:solidFill>
                <a:schemeClr val="accent4">
                  <a:lumMod val="60000"/>
                  <a:lumOff val="40000"/>
                </a:schemeClr>
              </a:solidFill>
              <a:ln>
                <a:noFill/>
              </a:ln>
            </p:spPr>
            <p:txBody>
              <a:bodyPr vert="horz" wrap="square" lIns="68580" tIns="34290" rIns="68580" bIns="34290" numCol="1" anchor="t" anchorCtr="0" compatLnSpc="1">
                <a:prstTxWarp prst="textNoShape">
                  <a:avLst/>
                </a:prstTxWarp>
              </a:bodyPr>
              <a:lstStyle/>
              <a:p>
                <a:endParaRPr lang="id-ID" sz="1350" dirty="0"/>
              </a:p>
            </p:txBody>
          </p:sp>
          <p:grpSp>
            <p:nvGrpSpPr>
              <p:cNvPr id="223" name="Group 222">
                <a:extLst>
                  <a:ext uri="{FF2B5EF4-FFF2-40B4-BE49-F238E27FC236}">
                    <a16:creationId xmlns:a16="http://schemas.microsoft.com/office/drawing/2014/main" id="{5772621B-562F-944B-A3D9-9B8A68542B2D}"/>
                  </a:ext>
                </a:extLst>
              </p:cNvPr>
              <p:cNvGrpSpPr/>
              <p:nvPr/>
            </p:nvGrpSpPr>
            <p:grpSpPr>
              <a:xfrm>
                <a:off x="2457095" y="981052"/>
                <a:ext cx="6135712" cy="3460239"/>
                <a:chOff x="2457095" y="981052"/>
                <a:chExt cx="6135712" cy="3460239"/>
              </a:xfrm>
            </p:grpSpPr>
            <p:sp>
              <p:nvSpPr>
                <p:cNvPr id="224" name="Rectangle 48">
                  <a:extLst>
                    <a:ext uri="{FF2B5EF4-FFF2-40B4-BE49-F238E27FC236}">
                      <a16:creationId xmlns:a16="http://schemas.microsoft.com/office/drawing/2014/main" id="{5FBAFEB0-C968-E944-B4DB-80849A7DFB30}"/>
                    </a:ext>
                  </a:extLst>
                </p:cNvPr>
                <p:cNvSpPr>
                  <a:spLocks noChangeArrowheads="1"/>
                </p:cNvSpPr>
                <p:nvPr/>
              </p:nvSpPr>
              <p:spPr bwMode="auto">
                <a:xfrm rot="16200000" flipH="1">
                  <a:off x="1063737" y="2374411"/>
                  <a:ext cx="2880001" cy="93283"/>
                </a:xfrm>
                <a:prstGeom prst="rect">
                  <a:avLst/>
                </a:prstGeom>
                <a:solidFill>
                  <a:schemeClr val="accent4"/>
                </a:solidFill>
                <a:ln>
                  <a:noFill/>
                </a:ln>
              </p:spPr>
              <p:txBody>
                <a:bodyPr vert="horz" wrap="square" lIns="68580" tIns="34290" rIns="68580" bIns="34290" numCol="1" anchor="t" anchorCtr="0" compatLnSpc="1">
                  <a:prstTxWarp prst="textNoShape">
                    <a:avLst/>
                  </a:prstTxWarp>
                </a:bodyPr>
                <a:lstStyle/>
                <a:p>
                  <a:endParaRPr lang="id-ID" sz="1350" dirty="0"/>
                </a:p>
              </p:txBody>
            </p:sp>
            <p:sp>
              <p:nvSpPr>
                <p:cNvPr id="225" name="Freeform 50">
                  <a:extLst>
                    <a:ext uri="{FF2B5EF4-FFF2-40B4-BE49-F238E27FC236}">
                      <a16:creationId xmlns:a16="http://schemas.microsoft.com/office/drawing/2014/main" id="{0FD8D670-D34B-894C-85DE-6D3312CD171E}"/>
                    </a:ext>
                  </a:extLst>
                </p:cNvPr>
                <p:cNvSpPr>
                  <a:spLocks/>
                </p:cNvSpPr>
                <p:nvPr/>
              </p:nvSpPr>
              <p:spPr bwMode="auto">
                <a:xfrm rot="16200000" flipH="1" flipV="1">
                  <a:off x="2547720" y="3734297"/>
                  <a:ext cx="381120" cy="562370"/>
                </a:xfrm>
                <a:custGeom>
                  <a:avLst/>
                  <a:gdLst>
                    <a:gd name="T0" fmla="*/ 58 w 73"/>
                    <a:gd name="T1" fmla="*/ 0 h 89"/>
                    <a:gd name="T2" fmla="*/ 58 w 73"/>
                    <a:gd name="T3" fmla="*/ 1 h 89"/>
                    <a:gd name="T4" fmla="*/ 1 w 73"/>
                    <a:gd name="T5" fmla="*/ 74 h 89"/>
                    <a:gd name="T6" fmla="*/ 0 w 73"/>
                    <a:gd name="T7" fmla="*/ 74 h 89"/>
                    <a:gd name="T8" fmla="*/ 0 w 73"/>
                    <a:gd name="T9" fmla="*/ 89 h 89"/>
                    <a:gd name="T10" fmla="*/ 1 w 73"/>
                    <a:gd name="T11" fmla="*/ 89 h 89"/>
                    <a:gd name="T12" fmla="*/ 58 w 73"/>
                    <a:gd name="T13" fmla="*/ 60 h 89"/>
                    <a:gd name="T14" fmla="*/ 73 w 73"/>
                    <a:gd name="T15" fmla="*/ 1 h 89"/>
                    <a:gd name="T16" fmla="*/ 73 w 73"/>
                    <a:gd name="T17" fmla="*/ 0 h 89"/>
                    <a:gd name="T18" fmla="*/ 58 w 73"/>
                    <a:gd name="T1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89">
                      <a:moveTo>
                        <a:pt x="58" y="0"/>
                      </a:moveTo>
                      <a:cubicBezTo>
                        <a:pt x="58" y="1"/>
                        <a:pt x="58" y="1"/>
                        <a:pt x="58" y="1"/>
                      </a:cubicBezTo>
                      <a:cubicBezTo>
                        <a:pt x="58" y="23"/>
                        <a:pt x="52" y="74"/>
                        <a:pt x="1" y="74"/>
                      </a:cubicBezTo>
                      <a:cubicBezTo>
                        <a:pt x="0" y="74"/>
                        <a:pt x="0" y="74"/>
                        <a:pt x="0" y="74"/>
                      </a:cubicBezTo>
                      <a:cubicBezTo>
                        <a:pt x="0" y="89"/>
                        <a:pt x="0" y="89"/>
                        <a:pt x="0" y="89"/>
                      </a:cubicBezTo>
                      <a:cubicBezTo>
                        <a:pt x="1" y="89"/>
                        <a:pt x="1" y="89"/>
                        <a:pt x="1" y="89"/>
                      </a:cubicBezTo>
                      <a:cubicBezTo>
                        <a:pt x="26" y="89"/>
                        <a:pt x="45" y="79"/>
                        <a:pt x="58" y="60"/>
                      </a:cubicBezTo>
                      <a:cubicBezTo>
                        <a:pt x="71" y="41"/>
                        <a:pt x="73" y="17"/>
                        <a:pt x="73" y="1"/>
                      </a:cubicBezTo>
                      <a:cubicBezTo>
                        <a:pt x="73" y="0"/>
                        <a:pt x="73" y="0"/>
                        <a:pt x="73" y="0"/>
                      </a:cubicBezTo>
                      <a:lnTo>
                        <a:pt x="58" y="0"/>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id-ID" dirty="0"/>
                </a:p>
              </p:txBody>
            </p:sp>
            <p:sp>
              <p:nvSpPr>
                <p:cNvPr id="226" name="Freeform 131">
                  <a:extLst>
                    <a:ext uri="{FF2B5EF4-FFF2-40B4-BE49-F238E27FC236}">
                      <a16:creationId xmlns:a16="http://schemas.microsoft.com/office/drawing/2014/main" id="{55EA62EC-6074-AD48-ADB8-B40E6B96C5D5}"/>
                    </a:ext>
                  </a:extLst>
                </p:cNvPr>
                <p:cNvSpPr>
                  <a:spLocks/>
                </p:cNvSpPr>
                <p:nvPr/>
              </p:nvSpPr>
              <p:spPr bwMode="auto">
                <a:xfrm flipH="1">
                  <a:off x="3004951" y="4128091"/>
                  <a:ext cx="5040000" cy="86400"/>
                </a:xfrm>
                <a:custGeom>
                  <a:avLst/>
                  <a:gdLst>
                    <a:gd name="T0" fmla="*/ 0 w 501"/>
                    <a:gd name="T1" fmla="*/ 2 h 17"/>
                    <a:gd name="T2" fmla="*/ 0 w 501"/>
                    <a:gd name="T3" fmla="*/ 17 h 17"/>
                    <a:gd name="T4" fmla="*/ 501 w 501"/>
                    <a:gd name="T5" fmla="*/ 17 h 17"/>
                    <a:gd name="T6" fmla="*/ 501 w 501"/>
                    <a:gd name="T7" fmla="*/ 1 h 17"/>
                    <a:gd name="T8" fmla="*/ 0 w 501"/>
                    <a:gd name="T9" fmla="*/ 2 h 17"/>
                  </a:gdLst>
                  <a:ahLst/>
                  <a:cxnLst>
                    <a:cxn ang="0">
                      <a:pos x="T0" y="T1"/>
                    </a:cxn>
                    <a:cxn ang="0">
                      <a:pos x="T2" y="T3"/>
                    </a:cxn>
                    <a:cxn ang="0">
                      <a:pos x="T4" y="T5"/>
                    </a:cxn>
                    <a:cxn ang="0">
                      <a:pos x="T6" y="T7"/>
                    </a:cxn>
                    <a:cxn ang="0">
                      <a:pos x="T8" y="T9"/>
                    </a:cxn>
                  </a:cxnLst>
                  <a:rect l="0" t="0" r="r" b="b"/>
                  <a:pathLst>
                    <a:path w="501" h="17">
                      <a:moveTo>
                        <a:pt x="0" y="2"/>
                      </a:moveTo>
                      <a:cubicBezTo>
                        <a:pt x="0" y="17"/>
                        <a:pt x="0" y="17"/>
                        <a:pt x="0" y="17"/>
                      </a:cubicBezTo>
                      <a:cubicBezTo>
                        <a:pt x="4" y="17"/>
                        <a:pt x="447" y="15"/>
                        <a:pt x="501" y="17"/>
                      </a:cubicBezTo>
                      <a:cubicBezTo>
                        <a:pt x="501" y="1"/>
                        <a:pt x="501" y="1"/>
                        <a:pt x="501" y="1"/>
                      </a:cubicBezTo>
                      <a:cubicBezTo>
                        <a:pt x="443" y="0"/>
                        <a:pt x="18" y="2"/>
                        <a:pt x="0" y="2"/>
                      </a:cubicBez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id-ID" sz="1350" dirty="0"/>
                </a:p>
              </p:txBody>
            </p:sp>
            <p:sp>
              <p:nvSpPr>
                <p:cNvPr id="227" name="Oval 226">
                  <a:extLst>
                    <a:ext uri="{FF2B5EF4-FFF2-40B4-BE49-F238E27FC236}">
                      <a16:creationId xmlns:a16="http://schemas.microsoft.com/office/drawing/2014/main" id="{1CEEAEA7-DEAC-9847-A124-EBA6D869AFAA}"/>
                    </a:ext>
                  </a:extLst>
                </p:cNvPr>
                <p:cNvSpPr/>
                <p:nvPr/>
              </p:nvSpPr>
              <p:spPr>
                <a:xfrm>
                  <a:off x="8052807" y="3901291"/>
                  <a:ext cx="540000" cy="540000"/>
                </a:xfrm>
                <a:prstGeom prst="ellipse">
                  <a:avLst/>
                </a:prstGeom>
                <a:solidFill>
                  <a:schemeClr val="bg1">
                    <a:lumMod val="95000"/>
                  </a:schemeClr>
                </a:solidFill>
                <a:ln w="698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lumMod val="75000"/>
                          <a:lumOff val="25000"/>
                        </a:schemeClr>
                      </a:solidFill>
                      <a:latin typeface="Lato Bold" panose="020F0502020204030203" pitchFamily="34" charset="0"/>
                      <a:ea typeface="Lato Bold" panose="020F0502020204030203" pitchFamily="34" charset="0"/>
                      <a:cs typeface="Lato Bold" panose="020F0502020204030203" pitchFamily="34" charset="0"/>
                    </a:rPr>
                    <a:t>3</a:t>
                  </a:r>
                  <a:endParaRPr lang="id-ID" sz="1600" dirty="0">
                    <a:solidFill>
                      <a:schemeClr val="tx1">
                        <a:lumMod val="75000"/>
                        <a:lumOff val="25000"/>
                      </a:schemeClr>
                    </a:solidFill>
                    <a:latin typeface="Lato Bold" panose="020F0502020204030203" pitchFamily="34" charset="0"/>
                    <a:ea typeface="Lato Bold" panose="020F0502020204030203" pitchFamily="34" charset="0"/>
                    <a:cs typeface="Lato Bold" panose="020F0502020204030203" pitchFamily="34" charset="0"/>
                  </a:endParaRPr>
                </a:p>
              </p:txBody>
            </p:sp>
          </p:grpSp>
        </p:grpSp>
        <p:grpSp>
          <p:nvGrpSpPr>
            <p:cNvPr id="205" name="Group 204">
              <a:extLst>
                <a:ext uri="{FF2B5EF4-FFF2-40B4-BE49-F238E27FC236}">
                  <a16:creationId xmlns:a16="http://schemas.microsoft.com/office/drawing/2014/main" id="{E9EB72C3-E65A-B746-B739-E3321A41E79B}"/>
                </a:ext>
              </a:extLst>
            </p:cNvPr>
            <p:cNvGrpSpPr/>
            <p:nvPr/>
          </p:nvGrpSpPr>
          <p:grpSpPr>
            <a:xfrm>
              <a:off x="798452" y="609600"/>
              <a:ext cx="4147309" cy="3197301"/>
              <a:chOff x="1187053" y="-1"/>
              <a:chExt cx="6679282" cy="5149285"/>
            </a:xfrm>
          </p:grpSpPr>
          <p:sp>
            <p:nvSpPr>
              <p:cNvPr id="214" name="Freeform 119">
                <a:extLst>
                  <a:ext uri="{FF2B5EF4-FFF2-40B4-BE49-F238E27FC236}">
                    <a16:creationId xmlns:a16="http://schemas.microsoft.com/office/drawing/2014/main" id="{5FB7CBB0-95B3-CD4F-AEA2-29693FA46862}"/>
                  </a:ext>
                </a:extLst>
              </p:cNvPr>
              <p:cNvSpPr>
                <a:spLocks/>
              </p:cNvSpPr>
              <p:nvPr/>
            </p:nvSpPr>
            <p:spPr bwMode="auto">
              <a:xfrm rot="16200000" flipH="1">
                <a:off x="1558268" y="207114"/>
                <a:ext cx="440948" cy="1183377"/>
              </a:xfrm>
              <a:custGeom>
                <a:avLst/>
                <a:gdLst>
                  <a:gd name="T0" fmla="*/ 199 w 199"/>
                  <a:gd name="T1" fmla="*/ 408 h 444"/>
                  <a:gd name="T2" fmla="*/ 0 w 199"/>
                  <a:gd name="T3" fmla="*/ 0 h 444"/>
                  <a:gd name="T4" fmla="*/ 0 w 199"/>
                  <a:gd name="T5" fmla="*/ 228 h 444"/>
                  <a:gd name="T6" fmla="*/ 199 w 199"/>
                  <a:gd name="T7" fmla="*/ 444 h 444"/>
                  <a:gd name="T8" fmla="*/ 199 w 199"/>
                  <a:gd name="T9" fmla="*/ 408 h 444"/>
                </a:gdLst>
                <a:ahLst/>
                <a:cxnLst>
                  <a:cxn ang="0">
                    <a:pos x="T0" y="T1"/>
                  </a:cxn>
                  <a:cxn ang="0">
                    <a:pos x="T2" y="T3"/>
                  </a:cxn>
                  <a:cxn ang="0">
                    <a:pos x="T4" y="T5"/>
                  </a:cxn>
                  <a:cxn ang="0">
                    <a:pos x="T6" y="T7"/>
                  </a:cxn>
                  <a:cxn ang="0">
                    <a:pos x="T8" y="T9"/>
                  </a:cxn>
                </a:cxnLst>
                <a:rect l="0" t="0" r="r" b="b"/>
                <a:pathLst>
                  <a:path w="199" h="444">
                    <a:moveTo>
                      <a:pt x="199" y="408"/>
                    </a:moveTo>
                    <a:lnTo>
                      <a:pt x="0" y="0"/>
                    </a:lnTo>
                    <a:lnTo>
                      <a:pt x="0" y="228"/>
                    </a:lnTo>
                    <a:lnTo>
                      <a:pt x="199" y="444"/>
                    </a:lnTo>
                    <a:lnTo>
                      <a:pt x="199" y="408"/>
                    </a:lnTo>
                    <a:close/>
                  </a:path>
                </a:pathLst>
              </a:custGeom>
              <a:solidFill>
                <a:srgbClr val="BA4124"/>
              </a:solidFill>
              <a:ln>
                <a:noFill/>
              </a:ln>
            </p:spPr>
            <p:txBody>
              <a:bodyPr vert="horz" wrap="square" lIns="68580" tIns="34290" rIns="68580" bIns="34290" numCol="1" anchor="t" anchorCtr="0" compatLnSpc="1">
                <a:prstTxWarp prst="textNoShape">
                  <a:avLst/>
                </a:prstTxWarp>
              </a:bodyPr>
              <a:lstStyle/>
              <a:p>
                <a:endParaRPr lang="id-ID" sz="1350" dirty="0"/>
              </a:p>
            </p:txBody>
          </p:sp>
          <p:sp>
            <p:nvSpPr>
              <p:cNvPr id="215" name="Rectangle 38">
                <a:extLst>
                  <a:ext uri="{FF2B5EF4-FFF2-40B4-BE49-F238E27FC236}">
                    <a16:creationId xmlns:a16="http://schemas.microsoft.com/office/drawing/2014/main" id="{B79284E5-DA7D-8744-A9B3-0474A4EFA08E}"/>
                  </a:ext>
                </a:extLst>
              </p:cNvPr>
              <p:cNvSpPr>
                <a:spLocks noChangeArrowheads="1"/>
              </p:cNvSpPr>
              <p:nvPr/>
            </p:nvSpPr>
            <p:spPr bwMode="auto">
              <a:xfrm rot="16200000" flipH="1">
                <a:off x="1201729" y="-14676"/>
                <a:ext cx="578329" cy="607680"/>
              </a:xfrm>
              <a:prstGeom prst="rect">
                <a:avLst/>
              </a:prstGeom>
              <a:solidFill>
                <a:srgbClr val="D14828"/>
              </a:solidFill>
              <a:ln>
                <a:noFill/>
              </a:ln>
            </p:spPr>
            <p:txBody>
              <a:bodyPr vert="horz" wrap="square" lIns="68580" tIns="34290" rIns="68580" bIns="34290" numCol="1" anchor="t" anchorCtr="0" compatLnSpc="1">
                <a:prstTxWarp prst="textNoShape">
                  <a:avLst/>
                </a:prstTxWarp>
              </a:bodyPr>
              <a:lstStyle/>
              <a:p>
                <a:endParaRPr lang="id-ID" sz="1350" dirty="0"/>
              </a:p>
            </p:txBody>
          </p:sp>
          <p:grpSp>
            <p:nvGrpSpPr>
              <p:cNvPr id="216" name="Group 215">
                <a:extLst>
                  <a:ext uri="{FF2B5EF4-FFF2-40B4-BE49-F238E27FC236}">
                    <a16:creationId xmlns:a16="http://schemas.microsoft.com/office/drawing/2014/main" id="{B6978625-9D4F-5748-A685-A4D735A66DD9}"/>
                  </a:ext>
                </a:extLst>
              </p:cNvPr>
              <p:cNvGrpSpPr/>
              <p:nvPr/>
            </p:nvGrpSpPr>
            <p:grpSpPr>
              <a:xfrm>
                <a:off x="2263917" y="988666"/>
                <a:ext cx="5602418" cy="4160618"/>
                <a:chOff x="2263917" y="988666"/>
                <a:chExt cx="5602418" cy="4160618"/>
              </a:xfrm>
            </p:grpSpPr>
            <p:sp>
              <p:nvSpPr>
                <p:cNvPr id="217" name="Rectangle 45">
                  <a:extLst>
                    <a:ext uri="{FF2B5EF4-FFF2-40B4-BE49-F238E27FC236}">
                      <a16:creationId xmlns:a16="http://schemas.microsoft.com/office/drawing/2014/main" id="{4F2DD961-B9E9-4848-8877-33E0FE72181F}"/>
                    </a:ext>
                  </a:extLst>
                </p:cNvPr>
                <p:cNvSpPr>
                  <a:spLocks noChangeArrowheads="1"/>
                </p:cNvSpPr>
                <p:nvPr/>
              </p:nvSpPr>
              <p:spPr bwMode="auto">
                <a:xfrm rot="16200000" flipH="1">
                  <a:off x="510717" y="2741866"/>
                  <a:ext cx="3599999" cy="93600"/>
                </a:xfrm>
                <a:prstGeom prst="rect">
                  <a:avLst/>
                </a:prstGeom>
                <a:solidFill>
                  <a:srgbClr val="D14828"/>
                </a:solidFill>
                <a:ln>
                  <a:noFill/>
                </a:ln>
              </p:spPr>
              <p:txBody>
                <a:bodyPr vert="horz" wrap="square" lIns="68580" tIns="34290" rIns="68580" bIns="34290" numCol="1" anchor="t" anchorCtr="0" compatLnSpc="1">
                  <a:prstTxWarp prst="textNoShape">
                    <a:avLst/>
                  </a:prstTxWarp>
                </a:bodyPr>
                <a:lstStyle/>
                <a:p>
                  <a:endParaRPr lang="id-ID" sz="1350" dirty="0"/>
                </a:p>
              </p:txBody>
            </p:sp>
            <p:sp>
              <p:nvSpPr>
                <p:cNvPr id="218" name="Freeform 50">
                  <a:extLst>
                    <a:ext uri="{FF2B5EF4-FFF2-40B4-BE49-F238E27FC236}">
                      <a16:creationId xmlns:a16="http://schemas.microsoft.com/office/drawing/2014/main" id="{FA290866-745D-7E48-A036-D8D8B81DDAB8}"/>
                    </a:ext>
                  </a:extLst>
                </p:cNvPr>
                <p:cNvSpPr>
                  <a:spLocks/>
                </p:cNvSpPr>
                <p:nvPr/>
              </p:nvSpPr>
              <p:spPr bwMode="auto">
                <a:xfrm rot="16200000" flipH="1" flipV="1">
                  <a:off x="2361248" y="4442290"/>
                  <a:ext cx="381120" cy="562370"/>
                </a:xfrm>
                <a:custGeom>
                  <a:avLst/>
                  <a:gdLst>
                    <a:gd name="T0" fmla="*/ 58 w 73"/>
                    <a:gd name="T1" fmla="*/ 0 h 89"/>
                    <a:gd name="T2" fmla="*/ 58 w 73"/>
                    <a:gd name="T3" fmla="*/ 1 h 89"/>
                    <a:gd name="T4" fmla="*/ 1 w 73"/>
                    <a:gd name="T5" fmla="*/ 74 h 89"/>
                    <a:gd name="T6" fmla="*/ 0 w 73"/>
                    <a:gd name="T7" fmla="*/ 74 h 89"/>
                    <a:gd name="T8" fmla="*/ 0 w 73"/>
                    <a:gd name="T9" fmla="*/ 89 h 89"/>
                    <a:gd name="T10" fmla="*/ 1 w 73"/>
                    <a:gd name="T11" fmla="*/ 89 h 89"/>
                    <a:gd name="T12" fmla="*/ 58 w 73"/>
                    <a:gd name="T13" fmla="*/ 60 h 89"/>
                    <a:gd name="T14" fmla="*/ 73 w 73"/>
                    <a:gd name="T15" fmla="*/ 1 h 89"/>
                    <a:gd name="T16" fmla="*/ 73 w 73"/>
                    <a:gd name="T17" fmla="*/ 0 h 89"/>
                    <a:gd name="T18" fmla="*/ 58 w 73"/>
                    <a:gd name="T1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89">
                      <a:moveTo>
                        <a:pt x="58" y="0"/>
                      </a:moveTo>
                      <a:cubicBezTo>
                        <a:pt x="58" y="1"/>
                        <a:pt x="58" y="1"/>
                        <a:pt x="58" y="1"/>
                      </a:cubicBezTo>
                      <a:cubicBezTo>
                        <a:pt x="58" y="23"/>
                        <a:pt x="52" y="74"/>
                        <a:pt x="1" y="74"/>
                      </a:cubicBezTo>
                      <a:cubicBezTo>
                        <a:pt x="0" y="74"/>
                        <a:pt x="0" y="74"/>
                        <a:pt x="0" y="74"/>
                      </a:cubicBezTo>
                      <a:cubicBezTo>
                        <a:pt x="0" y="89"/>
                        <a:pt x="0" y="89"/>
                        <a:pt x="0" y="89"/>
                      </a:cubicBezTo>
                      <a:cubicBezTo>
                        <a:pt x="1" y="89"/>
                        <a:pt x="1" y="89"/>
                        <a:pt x="1" y="89"/>
                      </a:cubicBezTo>
                      <a:cubicBezTo>
                        <a:pt x="26" y="89"/>
                        <a:pt x="45" y="79"/>
                        <a:pt x="58" y="60"/>
                      </a:cubicBezTo>
                      <a:cubicBezTo>
                        <a:pt x="71" y="41"/>
                        <a:pt x="73" y="17"/>
                        <a:pt x="73" y="1"/>
                      </a:cubicBezTo>
                      <a:cubicBezTo>
                        <a:pt x="73" y="0"/>
                        <a:pt x="73" y="0"/>
                        <a:pt x="73" y="0"/>
                      </a:cubicBezTo>
                      <a:lnTo>
                        <a:pt x="58" y="0"/>
                      </a:lnTo>
                      <a:close/>
                    </a:path>
                  </a:pathLst>
                </a:custGeom>
                <a:solidFill>
                  <a:srgbClr val="D14828"/>
                </a:solidFill>
                <a:ln>
                  <a:noFill/>
                </a:ln>
              </p:spPr>
              <p:txBody>
                <a:bodyPr vert="horz" wrap="square" lIns="68580" tIns="34290" rIns="68580" bIns="34290" numCol="1" anchor="t" anchorCtr="0" compatLnSpc="1">
                  <a:prstTxWarp prst="textNoShape">
                    <a:avLst/>
                  </a:prstTxWarp>
                </a:bodyPr>
                <a:lstStyle/>
                <a:p>
                  <a:endParaRPr lang="id-ID" dirty="0"/>
                </a:p>
              </p:txBody>
            </p:sp>
            <p:sp>
              <p:nvSpPr>
                <p:cNvPr id="219" name="Freeform 124">
                  <a:extLst>
                    <a:ext uri="{FF2B5EF4-FFF2-40B4-BE49-F238E27FC236}">
                      <a16:creationId xmlns:a16="http://schemas.microsoft.com/office/drawing/2014/main" id="{1F0CC08A-973A-4A4F-8F0A-2E641A7F3799}"/>
                    </a:ext>
                  </a:extLst>
                </p:cNvPr>
                <p:cNvSpPr>
                  <a:spLocks/>
                </p:cNvSpPr>
                <p:nvPr/>
              </p:nvSpPr>
              <p:spPr bwMode="auto">
                <a:xfrm flipH="1">
                  <a:off x="2818479" y="4831541"/>
                  <a:ext cx="4500000" cy="86400"/>
                </a:xfrm>
                <a:custGeom>
                  <a:avLst/>
                  <a:gdLst>
                    <a:gd name="T0" fmla="*/ 0 w 501"/>
                    <a:gd name="T1" fmla="*/ 2 h 17"/>
                    <a:gd name="T2" fmla="*/ 0 w 501"/>
                    <a:gd name="T3" fmla="*/ 17 h 17"/>
                    <a:gd name="T4" fmla="*/ 501 w 501"/>
                    <a:gd name="T5" fmla="*/ 17 h 17"/>
                    <a:gd name="T6" fmla="*/ 501 w 501"/>
                    <a:gd name="T7" fmla="*/ 1 h 17"/>
                    <a:gd name="T8" fmla="*/ 0 w 501"/>
                    <a:gd name="T9" fmla="*/ 2 h 17"/>
                  </a:gdLst>
                  <a:ahLst/>
                  <a:cxnLst>
                    <a:cxn ang="0">
                      <a:pos x="T0" y="T1"/>
                    </a:cxn>
                    <a:cxn ang="0">
                      <a:pos x="T2" y="T3"/>
                    </a:cxn>
                    <a:cxn ang="0">
                      <a:pos x="T4" y="T5"/>
                    </a:cxn>
                    <a:cxn ang="0">
                      <a:pos x="T6" y="T7"/>
                    </a:cxn>
                    <a:cxn ang="0">
                      <a:pos x="T8" y="T9"/>
                    </a:cxn>
                  </a:cxnLst>
                  <a:rect l="0" t="0" r="r" b="b"/>
                  <a:pathLst>
                    <a:path w="501" h="17">
                      <a:moveTo>
                        <a:pt x="0" y="2"/>
                      </a:moveTo>
                      <a:cubicBezTo>
                        <a:pt x="0" y="17"/>
                        <a:pt x="0" y="17"/>
                        <a:pt x="0" y="17"/>
                      </a:cubicBezTo>
                      <a:cubicBezTo>
                        <a:pt x="4" y="17"/>
                        <a:pt x="447" y="15"/>
                        <a:pt x="501" y="17"/>
                      </a:cubicBezTo>
                      <a:cubicBezTo>
                        <a:pt x="501" y="1"/>
                        <a:pt x="501" y="1"/>
                        <a:pt x="501" y="1"/>
                      </a:cubicBezTo>
                      <a:cubicBezTo>
                        <a:pt x="443" y="0"/>
                        <a:pt x="18" y="2"/>
                        <a:pt x="0" y="2"/>
                      </a:cubicBezTo>
                      <a:close/>
                    </a:path>
                  </a:pathLst>
                </a:custGeom>
                <a:solidFill>
                  <a:srgbClr val="D14828"/>
                </a:solidFill>
                <a:ln>
                  <a:noFill/>
                </a:ln>
              </p:spPr>
              <p:txBody>
                <a:bodyPr vert="horz" wrap="square" lIns="68580" tIns="34290" rIns="68580" bIns="34290" numCol="1" anchor="t" anchorCtr="0" compatLnSpc="1">
                  <a:prstTxWarp prst="textNoShape">
                    <a:avLst/>
                  </a:prstTxWarp>
                </a:bodyPr>
                <a:lstStyle/>
                <a:p>
                  <a:endParaRPr lang="id-ID" sz="1350" dirty="0"/>
                </a:p>
              </p:txBody>
            </p:sp>
            <p:sp>
              <p:nvSpPr>
                <p:cNvPr id="220" name="Oval 219">
                  <a:extLst>
                    <a:ext uri="{FF2B5EF4-FFF2-40B4-BE49-F238E27FC236}">
                      <a16:creationId xmlns:a16="http://schemas.microsoft.com/office/drawing/2014/main" id="{A6BDDA3E-4077-BC46-8A92-0576E165AACC}"/>
                    </a:ext>
                  </a:extLst>
                </p:cNvPr>
                <p:cNvSpPr/>
                <p:nvPr/>
              </p:nvSpPr>
              <p:spPr>
                <a:xfrm>
                  <a:off x="7326335" y="4609284"/>
                  <a:ext cx="540000" cy="540000"/>
                </a:xfrm>
                <a:prstGeom prst="ellipse">
                  <a:avLst/>
                </a:prstGeom>
                <a:solidFill>
                  <a:schemeClr val="bg1">
                    <a:lumMod val="95000"/>
                  </a:schemeClr>
                </a:solidFill>
                <a:ln w="69850">
                  <a:solidFill>
                    <a:srgbClr val="D1482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lumMod val="75000"/>
                          <a:lumOff val="25000"/>
                        </a:schemeClr>
                      </a:solidFill>
                      <a:latin typeface="Lato Bold" panose="020F0502020204030203" pitchFamily="34" charset="0"/>
                      <a:ea typeface="Lato Bold" panose="020F0502020204030203" pitchFamily="34" charset="0"/>
                      <a:cs typeface="Lato Bold" panose="020F0502020204030203" pitchFamily="34" charset="0"/>
                    </a:rPr>
                    <a:t>4</a:t>
                  </a:r>
                  <a:endParaRPr lang="id-ID" sz="1600" dirty="0">
                    <a:solidFill>
                      <a:schemeClr val="tx1">
                        <a:lumMod val="75000"/>
                        <a:lumOff val="25000"/>
                      </a:schemeClr>
                    </a:solidFill>
                    <a:latin typeface="Lato Bold" panose="020F0502020204030203" pitchFamily="34" charset="0"/>
                    <a:ea typeface="Lato Bold" panose="020F0502020204030203" pitchFamily="34" charset="0"/>
                    <a:cs typeface="Lato Bold" panose="020F0502020204030203" pitchFamily="34" charset="0"/>
                  </a:endParaRPr>
                </a:p>
              </p:txBody>
            </p:sp>
          </p:grpSp>
        </p:grpSp>
        <p:grpSp>
          <p:nvGrpSpPr>
            <p:cNvPr id="206" name="Group 205">
              <a:extLst>
                <a:ext uri="{FF2B5EF4-FFF2-40B4-BE49-F238E27FC236}">
                  <a16:creationId xmlns:a16="http://schemas.microsoft.com/office/drawing/2014/main" id="{E0A35454-09D8-9D49-84E3-29AF5D795B8F}"/>
                </a:ext>
              </a:extLst>
            </p:cNvPr>
            <p:cNvGrpSpPr/>
            <p:nvPr/>
          </p:nvGrpSpPr>
          <p:grpSpPr>
            <a:xfrm>
              <a:off x="162962" y="609601"/>
              <a:ext cx="4320976" cy="3671223"/>
              <a:chOff x="163590" y="0"/>
              <a:chExt cx="6958975" cy="5912542"/>
            </a:xfrm>
          </p:grpSpPr>
          <p:sp>
            <p:nvSpPr>
              <p:cNvPr id="207" name="Freeform 112">
                <a:extLst>
                  <a:ext uri="{FF2B5EF4-FFF2-40B4-BE49-F238E27FC236}">
                    <a16:creationId xmlns:a16="http://schemas.microsoft.com/office/drawing/2014/main" id="{6850171A-ECF3-D941-8A4B-7217D3593457}"/>
                  </a:ext>
                </a:extLst>
              </p:cNvPr>
              <p:cNvSpPr>
                <a:spLocks/>
              </p:cNvSpPr>
              <p:nvPr/>
            </p:nvSpPr>
            <p:spPr bwMode="auto">
              <a:xfrm rot="16200000" flipH="1">
                <a:off x="965005" y="-212008"/>
                <a:ext cx="425436" cy="2028266"/>
              </a:xfrm>
              <a:custGeom>
                <a:avLst/>
                <a:gdLst>
                  <a:gd name="T0" fmla="*/ 192 w 192"/>
                  <a:gd name="T1" fmla="*/ 724 h 761"/>
                  <a:gd name="T2" fmla="*/ 0 w 192"/>
                  <a:gd name="T3" fmla="*/ 0 h 761"/>
                  <a:gd name="T4" fmla="*/ 0 w 192"/>
                  <a:gd name="T5" fmla="*/ 223 h 761"/>
                  <a:gd name="T6" fmla="*/ 192 w 192"/>
                  <a:gd name="T7" fmla="*/ 761 h 761"/>
                  <a:gd name="T8" fmla="*/ 192 w 192"/>
                  <a:gd name="T9" fmla="*/ 724 h 761"/>
                </a:gdLst>
                <a:ahLst/>
                <a:cxnLst>
                  <a:cxn ang="0">
                    <a:pos x="T0" y="T1"/>
                  </a:cxn>
                  <a:cxn ang="0">
                    <a:pos x="T2" y="T3"/>
                  </a:cxn>
                  <a:cxn ang="0">
                    <a:pos x="T4" y="T5"/>
                  </a:cxn>
                  <a:cxn ang="0">
                    <a:pos x="T6" y="T7"/>
                  </a:cxn>
                  <a:cxn ang="0">
                    <a:pos x="T8" y="T9"/>
                  </a:cxn>
                </a:cxnLst>
                <a:rect l="0" t="0" r="r" b="b"/>
                <a:pathLst>
                  <a:path w="192" h="761">
                    <a:moveTo>
                      <a:pt x="192" y="724"/>
                    </a:moveTo>
                    <a:lnTo>
                      <a:pt x="0" y="0"/>
                    </a:lnTo>
                    <a:lnTo>
                      <a:pt x="0" y="223"/>
                    </a:lnTo>
                    <a:lnTo>
                      <a:pt x="192" y="761"/>
                    </a:lnTo>
                    <a:lnTo>
                      <a:pt x="192" y="724"/>
                    </a:lnTo>
                    <a:close/>
                  </a:path>
                </a:pathLst>
              </a:custGeom>
              <a:solidFill>
                <a:srgbClr val="E1950D"/>
              </a:solidFill>
              <a:ln>
                <a:noFill/>
              </a:ln>
            </p:spPr>
            <p:txBody>
              <a:bodyPr vert="horz" wrap="square" lIns="68580" tIns="34290" rIns="68580" bIns="34290" numCol="1" anchor="t" anchorCtr="0" compatLnSpc="1">
                <a:prstTxWarp prst="textNoShape">
                  <a:avLst/>
                </a:prstTxWarp>
              </a:bodyPr>
              <a:lstStyle/>
              <a:p>
                <a:endParaRPr lang="id-ID" sz="1350" dirty="0"/>
              </a:p>
            </p:txBody>
          </p:sp>
          <p:sp>
            <p:nvSpPr>
              <p:cNvPr id="208" name="Rectangle 37">
                <a:extLst>
                  <a:ext uri="{FF2B5EF4-FFF2-40B4-BE49-F238E27FC236}">
                    <a16:creationId xmlns:a16="http://schemas.microsoft.com/office/drawing/2014/main" id="{7FC6739C-BFF0-394B-B57E-703234F13D73}"/>
                  </a:ext>
                </a:extLst>
              </p:cNvPr>
              <p:cNvSpPr>
                <a:spLocks noChangeArrowheads="1"/>
              </p:cNvSpPr>
              <p:nvPr/>
            </p:nvSpPr>
            <p:spPr bwMode="auto">
              <a:xfrm rot="16200000" flipH="1">
                <a:off x="166064" y="-2473"/>
                <a:ext cx="589407" cy="594353"/>
              </a:xfrm>
              <a:prstGeom prst="rect">
                <a:avLst/>
              </a:prstGeom>
              <a:solidFill>
                <a:srgbClr val="F3A721"/>
              </a:solidFill>
              <a:ln>
                <a:noFill/>
              </a:ln>
            </p:spPr>
            <p:txBody>
              <a:bodyPr vert="horz" wrap="square" lIns="68580" tIns="34290" rIns="68580" bIns="34290" numCol="1" anchor="t" anchorCtr="0" compatLnSpc="1">
                <a:prstTxWarp prst="textNoShape">
                  <a:avLst/>
                </a:prstTxWarp>
              </a:bodyPr>
              <a:lstStyle/>
              <a:p>
                <a:endParaRPr lang="id-ID" sz="1350" dirty="0"/>
              </a:p>
            </p:txBody>
          </p:sp>
          <p:grpSp>
            <p:nvGrpSpPr>
              <p:cNvPr id="209" name="Group 208">
                <a:extLst>
                  <a:ext uri="{FF2B5EF4-FFF2-40B4-BE49-F238E27FC236}">
                    <a16:creationId xmlns:a16="http://schemas.microsoft.com/office/drawing/2014/main" id="{1E76B117-D450-EA46-86D6-DE0DE309F30C}"/>
                  </a:ext>
                </a:extLst>
              </p:cNvPr>
              <p:cNvGrpSpPr/>
              <p:nvPr/>
            </p:nvGrpSpPr>
            <p:grpSpPr>
              <a:xfrm>
                <a:off x="2088004" y="1014483"/>
                <a:ext cx="5034561" cy="4898059"/>
                <a:chOff x="2088004" y="1014483"/>
                <a:chExt cx="5034561" cy="4898059"/>
              </a:xfrm>
            </p:grpSpPr>
            <p:sp>
              <p:nvSpPr>
                <p:cNvPr id="210" name="Rectangle 48">
                  <a:extLst>
                    <a:ext uri="{FF2B5EF4-FFF2-40B4-BE49-F238E27FC236}">
                      <a16:creationId xmlns:a16="http://schemas.microsoft.com/office/drawing/2014/main" id="{B9AF0A58-A7FA-0542-B1A1-155998EB0980}"/>
                    </a:ext>
                  </a:extLst>
                </p:cNvPr>
                <p:cNvSpPr>
                  <a:spLocks noChangeArrowheads="1"/>
                </p:cNvSpPr>
                <p:nvPr/>
              </p:nvSpPr>
              <p:spPr bwMode="auto">
                <a:xfrm rot="16200000" flipH="1">
                  <a:off x="-25354" y="3127841"/>
                  <a:ext cx="4320000" cy="93283"/>
                </a:xfrm>
                <a:prstGeom prst="rect">
                  <a:avLst/>
                </a:prstGeom>
                <a:solidFill>
                  <a:srgbClr val="F3A721"/>
                </a:solidFill>
                <a:ln>
                  <a:noFill/>
                </a:ln>
              </p:spPr>
              <p:txBody>
                <a:bodyPr vert="horz" wrap="square" lIns="68580" tIns="34290" rIns="68580" bIns="34290" numCol="1" anchor="t" anchorCtr="0" compatLnSpc="1">
                  <a:prstTxWarp prst="textNoShape">
                    <a:avLst/>
                  </a:prstTxWarp>
                </a:bodyPr>
                <a:lstStyle/>
                <a:p>
                  <a:endParaRPr lang="id-ID" dirty="0"/>
                </a:p>
              </p:txBody>
            </p:sp>
            <p:sp>
              <p:nvSpPr>
                <p:cNvPr id="211" name="Freeform 50">
                  <a:extLst>
                    <a:ext uri="{FF2B5EF4-FFF2-40B4-BE49-F238E27FC236}">
                      <a16:creationId xmlns:a16="http://schemas.microsoft.com/office/drawing/2014/main" id="{345CE28E-5E54-A742-BD7D-9989BE47B6F6}"/>
                    </a:ext>
                  </a:extLst>
                </p:cNvPr>
                <p:cNvSpPr>
                  <a:spLocks/>
                </p:cNvSpPr>
                <p:nvPr/>
              </p:nvSpPr>
              <p:spPr bwMode="auto">
                <a:xfrm rot="16200000" flipH="1" flipV="1">
                  <a:off x="2179144" y="5211680"/>
                  <a:ext cx="381120" cy="562369"/>
                </a:xfrm>
                <a:custGeom>
                  <a:avLst/>
                  <a:gdLst>
                    <a:gd name="T0" fmla="*/ 58 w 73"/>
                    <a:gd name="T1" fmla="*/ 0 h 89"/>
                    <a:gd name="T2" fmla="*/ 58 w 73"/>
                    <a:gd name="T3" fmla="*/ 1 h 89"/>
                    <a:gd name="T4" fmla="*/ 1 w 73"/>
                    <a:gd name="T5" fmla="*/ 74 h 89"/>
                    <a:gd name="T6" fmla="*/ 0 w 73"/>
                    <a:gd name="T7" fmla="*/ 74 h 89"/>
                    <a:gd name="T8" fmla="*/ 0 w 73"/>
                    <a:gd name="T9" fmla="*/ 89 h 89"/>
                    <a:gd name="T10" fmla="*/ 1 w 73"/>
                    <a:gd name="T11" fmla="*/ 89 h 89"/>
                    <a:gd name="T12" fmla="*/ 58 w 73"/>
                    <a:gd name="T13" fmla="*/ 60 h 89"/>
                    <a:gd name="T14" fmla="*/ 73 w 73"/>
                    <a:gd name="T15" fmla="*/ 1 h 89"/>
                    <a:gd name="T16" fmla="*/ 73 w 73"/>
                    <a:gd name="T17" fmla="*/ 0 h 89"/>
                    <a:gd name="T18" fmla="*/ 58 w 73"/>
                    <a:gd name="T1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89">
                      <a:moveTo>
                        <a:pt x="58" y="0"/>
                      </a:moveTo>
                      <a:cubicBezTo>
                        <a:pt x="58" y="1"/>
                        <a:pt x="58" y="1"/>
                        <a:pt x="58" y="1"/>
                      </a:cubicBezTo>
                      <a:cubicBezTo>
                        <a:pt x="58" y="23"/>
                        <a:pt x="52" y="74"/>
                        <a:pt x="1" y="74"/>
                      </a:cubicBezTo>
                      <a:cubicBezTo>
                        <a:pt x="0" y="74"/>
                        <a:pt x="0" y="74"/>
                        <a:pt x="0" y="74"/>
                      </a:cubicBezTo>
                      <a:cubicBezTo>
                        <a:pt x="0" y="89"/>
                        <a:pt x="0" y="89"/>
                        <a:pt x="0" y="89"/>
                      </a:cubicBezTo>
                      <a:cubicBezTo>
                        <a:pt x="1" y="89"/>
                        <a:pt x="1" y="89"/>
                        <a:pt x="1" y="89"/>
                      </a:cubicBezTo>
                      <a:cubicBezTo>
                        <a:pt x="26" y="89"/>
                        <a:pt x="45" y="79"/>
                        <a:pt x="58" y="60"/>
                      </a:cubicBezTo>
                      <a:cubicBezTo>
                        <a:pt x="71" y="41"/>
                        <a:pt x="73" y="17"/>
                        <a:pt x="73" y="1"/>
                      </a:cubicBezTo>
                      <a:cubicBezTo>
                        <a:pt x="73" y="0"/>
                        <a:pt x="73" y="0"/>
                        <a:pt x="73" y="0"/>
                      </a:cubicBezTo>
                      <a:lnTo>
                        <a:pt x="58" y="0"/>
                      </a:lnTo>
                      <a:close/>
                    </a:path>
                  </a:pathLst>
                </a:custGeom>
                <a:solidFill>
                  <a:srgbClr val="F3A721"/>
                </a:solidFill>
                <a:ln>
                  <a:noFill/>
                </a:ln>
              </p:spPr>
              <p:txBody>
                <a:bodyPr vert="horz" wrap="square" lIns="68580" tIns="34290" rIns="68580" bIns="34290" numCol="1" anchor="t" anchorCtr="0" compatLnSpc="1">
                  <a:prstTxWarp prst="textNoShape">
                    <a:avLst/>
                  </a:prstTxWarp>
                </a:bodyPr>
                <a:lstStyle/>
                <a:p>
                  <a:endParaRPr lang="id-ID" dirty="0"/>
                </a:p>
              </p:txBody>
            </p:sp>
            <p:sp>
              <p:nvSpPr>
                <p:cNvPr id="212" name="Freeform 117">
                  <a:extLst>
                    <a:ext uri="{FF2B5EF4-FFF2-40B4-BE49-F238E27FC236}">
                      <a16:creationId xmlns:a16="http://schemas.microsoft.com/office/drawing/2014/main" id="{8BD6149D-71E1-5247-8FCF-B39E501228D1}"/>
                    </a:ext>
                  </a:extLst>
                </p:cNvPr>
                <p:cNvSpPr>
                  <a:spLocks/>
                </p:cNvSpPr>
                <p:nvPr/>
              </p:nvSpPr>
              <p:spPr bwMode="auto">
                <a:xfrm flipH="1">
                  <a:off x="2608497" y="5599342"/>
                  <a:ext cx="3960000" cy="86400"/>
                </a:xfrm>
                <a:custGeom>
                  <a:avLst/>
                  <a:gdLst>
                    <a:gd name="T0" fmla="*/ 0 w 501"/>
                    <a:gd name="T1" fmla="*/ 2 h 17"/>
                    <a:gd name="T2" fmla="*/ 0 w 501"/>
                    <a:gd name="T3" fmla="*/ 17 h 17"/>
                    <a:gd name="T4" fmla="*/ 501 w 501"/>
                    <a:gd name="T5" fmla="*/ 17 h 17"/>
                    <a:gd name="T6" fmla="*/ 501 w 501"/>
                    <a:gd name="T7" fmla="*/ 1 h 17"/>
                    <a:gd name="T8" fmla="*/ 0 w 501"/>
                    <a:gd name="T9" fmla="*/ 2 h 17"/>
                  </a:gdLst>
                  <a:ahLst/>
                  <a:cxnLst>
                    <a:cxn ang="0">
                      <a:pos x="T0" y="T1"/>
                    </a:cxn>
                    <a:cxn ang="0">
                      <a:pos x="T2" y="T3"/>
                    </a:cxn>
                    <a:cxn ang="0">
                      <a:pos x="T4" y="T5"/>
                    </a:cxn>
                    <a:cxn ang="0">
                      <a:pos x="T6" y="T7"/>
                    </a:cxn>
                    <a:cxn ang="0">
                      <a:pos x="T8" y="T9"/>
                    </a:cxn>
                  </a:cxnLst>
                  <a:rect l="0" t="0" r="r" b="b"/>
                  <a:pathLst>
                    <a:path w="501" h="17">
                      <a:moveTo>
                        <a:pt x="0" y="2"/>
                      </a:moveTo>
                      <a:cubicBezTo>
                        <a:pt x="0" y="17"/>
                        <a:pt x="0" y="17"/>
                        <a:pt x="0" y="17"/>
                      </a:cubicBezTo>
                      <a:cubicBezTo>
                        <a:pt x="4" y="17"/>
                        <a:pt x="447" y="15"/>
                        <a:pt x="501" y="17"/>
                      </a:cubicBezTo>
                      <a:cubicBezTo>
                        <a:pt x="501" y="1"/>
                        <a:pt x="501" y="1"/>
                        <a:pt x="501" y="1"/>
                      </a:cubicBezTo>
                      <a:cubicBezTo>
                        <a:pt x="443" y="0"/>
                        <a:pt x="18" y="2"/>
                        <a:pt x="0" y="2"/>
                      </a:cubicBezTo>
                      <a:close/>
                    </a:path>
                  </a:pathLst>
                </a:custGeom>
                <a:solidFill>
                  <a:srgbClr val="F3A721"/>
                </a:solidFill>
                <a:ln>
                  <a:noFill/>
                </a:ln>
              </p:spPr>
              <p:txBody>
                <a:bodyPr vert="horz" wrap="square" lIns="68580" tIns="34290" rIns="68580" bIns="34290" numCol="1" anchor="t" anchorCtr="0" compatLnSpc="1">
                  <a:prstTxWarp prst="textNoShape">
                    <a:avLst/>
                  </a:prstTxWarp>
                </a:bodyPr>
                <a:lstStyle/>
                <a:p>
                  <a:endParaRPr lang="id-ID" sz="1350" dirty="0"/>
                </a:p>
              </p:txBody>
            </p:sp>
            <p:sp>
              <p:nvSpPr>
                <p:cNvPr id="213" name="Oval 212">
                  <a:extLst>
                    <a:ext uri="{FF2B5EF4-FFF2-40B4-BE49-F238E27FC236}">
                      <a16:creationId xmlns:a16="http://schemas.microsoft.com/office/drawing/2014/main" id="{0CAA473F-9AA4-7B4E-83F8-E8BD804B92EF}"/>
                    </a:ext>
                  </a:extLst>
                </p:cNvPr>
                <p:cNvSpPr/>
                <p:nvPr/>
              </p:nvSpPr>
              <p:spPr>
                <a:xfrm>
                  <a:off x="6582565" y="5372542"/>
                  <a:ext cx="540000" cy="540000"/>
                </a:xfrm>
                <a:prstGeom prst="ellipse">
                  <a:avLst/>
                </a:prstGeom>
                <a:solidFill>
                  <a:schemeClr val="bg1">
                    <a:lumMod val="95000"/>
                  </a:schemeClr>
                </a:solidFill>
                <a:ln w="69850">
                  <a:solidFill>
                    <a:srgbClr val="E99A0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lumMod val="75000"/>
                          <a:lumOff val="25000"/>
                        </a:schemeClr>
                      </a:solidFill>
                      <a:latin typeface="Lato Bold" panose="020F0502020204030203" pitchFamily="34" charset="0"/>
                      <a:ea typeface="Lato Bold" panose="020F0502020204030203" pitchFamily="34" charset="0"/>
                      <a:cs typeface="Lato Bold" panose="020F0502020204030203" pitchFamily="34" charset="0"/>
                    </a:rPr>
                    <a:t>5</a:t>
                  </a:r>
                  <a:endParaRPr lang="id-ID" sz="1600" dirty="0">
                    <a:solidFill>
                      <a:schemeClr val="tx1">
                        <a:lumMod val="75000"/>
                        <a:lumOff val="25000"/>
                      </a:schemeClr>
                    </a:solidFill>
                    <a:latin typeface="Lato Bold" panose="020F0502020204030203" pitchFamily="34" charset="0"/>
                    <a:ea typeface="Lato Bold" panose="020F0502020204030203" pitchFamily="34" charset="0"/>
                    <a:cs typeface="Lato Bold" panose="020F0502020204030203" pitchFamily="34" charset="0"/>
                  </a:endParaRPr>
                </a:p>
              </p:txBody>
            </p:sp>
          </p:grpSp>
        </p:grpSp>
      </p:grpSp>
      <p:sp>
        <p:nvSpPr>
          <p:cNvPr id="242" name="Rectangle 6">
            <a:extLst>
              <a:ext uri="{FF2B5EF4-FFF2-40B4-BE49-F238E27FC236}">
                <a16:creationId xmlns:a16="http://schemas.microsoft.com/office/drawing/2014/main" id="{4DDA4DB3-20BB-574D-B312-F2A86E6EADDD}"/>
              </a:ext>
            </a:extLst>
          </p:cNvPr>
          <p:cNvSpPr/>
          <p:nvPr/>
        </p:nvSpPr>
        <p:spPr>
          <a:xfrm flipH="1" flipV="1">
            <a:off x="4697746" y="954917"/>
            <a:ext cx="7507221" cy="1750632"/>
          </a:xfrm>
          <a:custGeom>
            <a:avLst/>
            <a:gdLst>
              <a:gd name="connsiteX0" fmla="*/ 0 w 6216319"/>
              <a:gd name="connsiteY0" fmla="*/ 0 h 1302204"/>
              <a:gd name="connsiteX1" fmla="*/ 6216319 w 6216319"/>
              <a:gd name="connsiteY1" fmla="*/ 0 h 1302204"/>
              <a:gd name="connsiteX2" fmla="*/ 6216319 w 6216319"/>
              <a:gd name="connsiteY2" fmla="*/ 1302204 h 1302204"/>
              <a:gd name="connsiteX3" fmla="*/ 0 w 6216319"/>
              <a:gd name="connsiteY3" fmla="*/ 1302204 h 1302204"/>
              <a:gd name="connsiteX4" fmla="*/ 0 w 6216319"/>
              <a:gd name="connsiteY4" fmla="*/ 0 h 1302204"/>
              <a:gd name="connsiteX0" fmla="*/ 0 w 6216319"/>
              <a:gd name="connsiteY0" fmla="*/ 9364 h 1311568"/>
              <a:gd name="connsiteX1" fmla="*/ 339865 w 6216319"/>
              <a:gd name="connsiteY1" fmla="*/ 0 h 1311568"/>
              <a:gd name="connsiteX2" fmla="*/ 6216319 w 6216319"/>
              <a:gd name="connsiteY2" fmla="*/ 9364 h 1311568"/>
              <a:gd name="connsiteX3" fmla="*/ 6216319 w 6216319"/>
              <a:gd name="connsiteY3" fmla="*/ 1311568 h 1311568"/>
              <a:gd name="connsiteX4" fmla="*/ 0 w 6216319"/>
              <a:gd name="connsiteY4" fmla="*/ 1311568 h 1311568"/>
              <a:gd name="connsiteX5" fmla="*/ 0 w 6216319"/>
              <a:gd name="connsiteY5" fmla="*/ 9364 h 1311568"/>
              <a:gd name="connsiteX0" fmla="*/ 0 w 6216319"/>
              <a:gd name="connsiteY0" fmla="*/ 0 h 1302204"/>
              <a:gd name="connsiteX1" fmla="*/ 339865 w 6216319"/>
              <a:gd name="connsiteY1" fmla="*/ 184845 h 1302204"/>
              <a:gd name="connsiteX2" fmla="*/ 6216319 w 6216319"/>
              <a:gd name="connsiteY2" fmla="*/ 0 h 1302204"/>
              <a:gd name="connsiteX3" fmla="*/ 6216319 w 6216319"/>
              <a:gd name="connsiteY3" fmla="*/ 1302204 h 1302204"/>
              <a:gd name="connsiteX4" fmla="*/ 0 w 6216319"/>
              <a:gd name="connsiteY4" fmla="*/ 1302204 h 1302204"/>
              <a:gd name="connsiteX5" fmla="*/ 0 w 6216319"/>
              <a:gd name="connsiteY5" fmla="*/ 0 h 1302204"/>
              <a:gd name="connsiteX0" fmla="*/ 0 w 6216319"/>
              <a:gd name="connsiteY0" fmla="*/ 0 h 1302204"/>
              <a:gd name="connsiteX1" fmla="*/ 339865 w 6216319"/>
              <a:gd name="connsiteY1" fmla="*/ 184845 h 1302204"/>
              <a:gd name="connsiteX2" fmla="*/ 6216319 w 6216319"/>
              <a:gd name="connsiteY2" fmla="*/ 0 h 1302204"/>
              <a:gd name="connsiteX3" fmla="*/ 6216319 w 6216319"/>
              <a:gd name="connsiteY3" fmla="*/ 1302204 h 1302204"/>
              <a:gd name="connsiteX4" fmla="*/ 0 w 6216319"/>
              <a:gd name="connsiteY4" fmla="*/ 1302204 h 1302204"/>
              <a:gd name="connsiteX5" fmla="*/ 0 w 6216319"/>
              <a:gd name="connsiteY5" fmla="*/ 0 h 1302204"/>
              <a:gd name="connsiteX0" fmla="*/ 0 w 6216319"/>
              <a:gd name="connsiteY0" fmla="*/ 47249 h 1349453"/>
              <a:gd name="connsiteX1" fmla="*/ 339865 w 6216319"/>
              <a:gd name="connsiteY1" fmla="*/ 232094 h 1349453"/>
              <a:gd name="connsiteX2" fmla="*/ 2273862 w 6216319"/>
              <a:gd name="connsiteY2" fmla="*/ 280646 h 1349453"/>
              <a:gd name="connsiteX3" fmla="*/ 6216319 w 6216319"/>
              <a:gd name="connsiteY3" fmla="*/ 47249 h 1349453"/>
              <a:gd name="connsiteX4" fmla="*/ 6216319 w 6216319"/>
              <a:gd name="connsiteY4" fmla="*/ 1349453 h 1349453"/>
              <a:gd name="connsiteX5" fmla="*/ 0 w 6216319"/>
              <a:gd name="connsiteY5" fmla="*/ 1349453 h 1349453"/>
              <a:gd name="connsiteX6" fmla="*/ 0 w 6216319"/>
              <a:gd name="connsiteY6" fmla="*/ 47249 h 1349453"/>
              <a:gd name="connsiteX0" fmla="*/ 0 w 6216319"/>
              <a:gd name="connsiteY0" fmla="*/ 30623 h 1332827"/>
              <a:gd name="connsiteX1" fmla="*/ 339865 w 6216319"/>
              <a:gd name="connsiteY1" fmla="*/ 215468 h 1332827"/>
              <a:gd name="connsiteX2" fmla="*/ 2265770 w 6216319"/>
              <a:gd name="connsiteY2" fmla="*/ 539150 h 1332827"/>
              <a:gd name="connsiteX3" fmla="*/ 6216319 w 6216319"/>
              <a:gd name="connsiteY3" fmla="*/ 30623 h 1332827"/>
              <a:gd name="connsiteX4" fmla="*/ 6216319 w 6216319"/>
              <a:gd name="connsiteY4" fmla="*/ 1332827 h 1332827"/>
              <a:gd name="connsiteX5" fmla="*/ 0 w 6216319"/>
              <a:gd name="connsiteY5" fmla="*/ 1332827 h 1332827"/>
              <a:gd name="connsiteX6" fmla="*/ 0 w 6216319"/>
              <a:gd name="connsiteY6" fmla="*/ 30623 h 1332827"/>
              <a:gd name="connsiteX0" fmla="*/ 0 w 6216319"/>
              <a:gd name="connsiteY0" fmla="*/ 31024 h 1333228"/>
              <a:gd name="connsiteX1" fmla="*/ 339865 w 6216319"/>
              <a:gd name="connsiteY1" fmla="*/ 215869 h 1333228"/>
              <a:gd name="connsiteX2" fmla="*/ 2265770 w 6216319"/>
              <a:gd name="connsiteY2" fmla="*/ 539551 h 1333228"/>
              <a:gd name="connsiteX3" fmla="*/ 3269182 w 6216319"/>
              <a:gd name="connsiteY3" fmla="*/ 418171 h 1333228"/>
              <a:gd name="connsiteX4" fmla="*/ 6216319 w 6216319"/>
              <a:gd name="connsiteY4" fmla="*/ 31024 h 1333228"/>
              <a:gd name="connsiteX5" fmla="*/ 6216319 w 6216319"/>
              <a:gd name="connsiteY5" fmla="*/ 1333228 h 1333228"/>
              <a:gd name="connsiteX6" fmla="*/ 0 w 6216319"/>
              <a:gd name="connsiteY6" fmla="*/ 1333228 h 1333228"/>
              <a:gd name="connsiteX7" fmla="*/ 0 w 6216319"/>
              <a:gd name="connsiteY7" fmla="*/ 31024 h 1333228"/>
              <a:gd name="connsiteX0" fmla="*/ 0 w 6216319"/>
              <a:gd name="connsiteY0" fmla="*/ 26175 h 1328379"/>
              <a:gd name="connsiteX1" fmla="*/ 339865 w 6216319"/>
              <a:gd name="connsiteY1" fmla="*/ 211020 h 1328379"/>
              <a:gd name="connsiteX2" fmla="*/ 2265770 w 6216319"/>
              <a:gd name="connsiteY2" fmla="*/ 534702 h 1328379"/>
              <a:gd name="connsiteX3" fmla="*/ 3244906 w 6216319"/>
              <a:gd name="connsiteY3" fmla="*/ 518518 h 1328379"/>
              <a:gd name="connsiteX4" fmla="*/ 6216319 w 6216319"/>
              <a:gd name="connsiteY4" fmla="*/ 26175 h 1328379"/>
              <a:gd name="connsiteX5" fmla="*/ 6216319 w 6216319"/>
              <a:gd name="connsiteY5" fmla="*/ 1328379 h 1328379"/>
              <a:gd name="connsiteX6" fmla="*/ 0 w 6216319"/>
              <a:gd name="connsiteY6" fmla="*/ 1328379 h 1328379"/>
              <a:gd name="connsiteX7" fmla="*/ 0 w 6216319"/>
              <a:gd name="connsiteY7" fmla="*/ 26175 h 1328379"/>
              <a:gd name="connsiteX0" fmla="*/ 0 w 6216319"/>
              <a:gd name="connsiteY0" fmla="*/ 63128 h 1365332"/>
              <a:gd name="connsiteX1" fmla="*/ 339865 w 6216319"/>
              <a:gd name="connsiteY1" fmla="*/ 247973 h 1365332"/>
              <a:gd name="connsiteX2" fmla="*/ 2265770 w 6216319"/>
              <a:gd name="connsiteY2" fmla="*/ 571655 h 1365332"/>
              <a:gd name="connsiteX3" fmla="*/ 3244906 w 6216319"/>
              <a:gd name="connsiteY3" fmla="*/ 555471 h 1365332"/>
              <a:gd name="connsiteX4" fmla="*/ 4725749 w 6216319"/>
              <a:gd name="connsiteY4" fmla="*/ 239882 h 1365332"/>
              <a:gd name="connsiteX5" fmla="*/ 6216319 w 6216319"/>
              <a:gd name="connsiteY5" fmla="*/ 63128 h 1365332"/>
              <a:gd name="connsiteX6" fmla="*/ 6216319 w 6216319"/>
              <a:gd name="connsiteY6" fmla="*/ 1365332 h 1365332"/>
              <a:gd name="connsiteX7" fmla="*/ 0 w 6216319"/>
              <a:gd name="connsiteY7" fmla="*/ 1365332 h 1365332"/>
              <a:gd name="connsiteX8" fmla="*/ 0 w 6216319"/>
              <a:gd name="connsiteY8" fmla="*/ 63128 h 1365332"/>
              <a:gd name="connsiteX0" fmla="*/ 0 w 6216319"/>
              <a:gd name="connsiteY0" fmla="*/ 20810 h 1323014"/>
              <a:gd name="connsiteX1" fmla="*/ 339865 w 6216319"/>
              <a:gd name="connsiteY1" fmla="*/ 205655 h 1323014"/>
              <a:gd name="connsiteX2" fmla="*/ 2265770 w 6216319"/>
              <a:gd name="connsiteY2" fmla="*/ 529337 h 1323014"/>
              <a:gd name="connsiteX3" fmla="*/ 3244906 w 6216319"/>
              <a:gd name="connsiteY3" fmla="*/ 513153 h 1323014"/>
              <a:gd name="connsiteX4" fmla="*/ 4628644 w 6216319"/>
              <a:gd name="connsiteY4" fmla="*/ 1055320 h 1323014"/>
              <a:gd name="connsiteX5" fmla="*/ 6216319 w 6216319"/>
              <a:gd name="connsiteY5" fmla="*/ 20810 h 1323014"/>
              <a:gd name="connsiteX6" fmla="*/ 6216319 w 6216319"/>
              <a:gd name="connsiteY6" fmla="*/ 1323014 h 1323014"/>
              <a:gd name="connsiteX7" fmla="*/ 0 w 6216319"/>
              <a:gd name="connsiteY7" fmla="*/ 1323014 h 1323014"/>
              <a:gd name="connsiteX8" fmla="*/ 0 w 6216319"/>
              <a:gd name="connsiteY8" fmla="*/ 20810 h 1323014"/>
              <a:gd name="connsiteX0" fmla="*/ 0 w 6216319"/>
              <a:gd name="connsiteY0" fmla="*/ 32243 h 1334447"/>
              <a:gd name="connsiteX1" fmla="*/ 339865 w 6216319"/>
              <a:gd name="connsiteY1" fmla="*/ 217088 h 1334447"/>
              <a:gd name="connsiteX2" fmla="*/ 2265770 w 6216319"/>
              <a:gd name="connsiteY2" fmla="*/ 540770 h 1334447"/>
              <a:gd name="connsiteX3" fmla="*/ 3244906 w 6216319"/>
              <a:gd name="connsiteY3" fmla="*/ 524586 h 1334447"/>
              <a:gd name="connsiteX4" fmla="*/ 4628644 w 6216319"/>
              <a:gd name="connsiteY4" fmla="*/ 1066753 h 1334447"/>
              <a:gd name="connsiteX5" fmla="*/ 5526860 w 6216319"/>
              <a:gd name="connsiteY5" fmla="*/ 451758 h 1334447"/>
              <a:gd name="connsiteX6" fmla="*/ 6216319 w 6216319"/>
              <a:gd name="connsiteY6" fmla="*/ 32243 h 1334447"/>
              <a:gd name="connsiteX7" fmla="*/ 6216319 w 6216319"/>
              <a:gd name="connsiteY7" fmla="*/ 1334447 h 1334447"/>
              <a:gd name="connsiteX8" fmla="*/ 0 w 6216319"/>
              <a:gd name="connsiteY8" fmla="*/ 1334447 h 1334447"/>
              <a:gd name="connsiteX9" fmla="*/ 0 w 6216319"/>
              <a:gd name="connsiteY9" fmla="*/ 32243 h 1334447"/>
              <a:gd name="connsiteX0" fmla="*/ 0 w 6216319"/>
              <a:gd name="connsiteY0" fmla="*/ 12831 h 1315035"/>
              <a:gd name="connsiteX1" fmla="*/ 339865 w 6216319"/>
              <a:gd name="connsiteY1" fmla="*/ 197676 h 1315035"/>
              <a:gd name="connsiteX2" fmla="*/ 2265770 w 6216319"/>
              <a:gd name="connsiteY2" fmla="*/ 521358 h 1315035"/>
              <a:gd name="connsiteX3" fmla="*/ 3244906 w 6216319"/>
              <a:gd name="connsiteY3" fmla="*/ 505174 h 1315035"/>
              <a:gd name="connsiteX4" fmla="*/ 4628644 w 6216319"/>
              <a:gd name="connsiteY4" fmla="*/ 1047341 h 1315035"/>
              <a:gd name="connsiteX5" fmla="*/ 5356927 w 6216319"/>
              <a:gd name="connsiteY5" fmla="*/ 1201089 h 1315035"/>
              <a:gd name="connsiteX6" fmla="*/ 6216319 w 6216319"/>
              <a:gd name="connsiteY6" fmla="*/ 12831 h 1315035"/>
              <a:gd name="connsiteX7" fmla="*/ 6216319 w 6216319"/>
              <a:gd name="connsiteY7" fmla="*/ 1315035 h 1315035"/>
              <a:gd name="connsiteX8" fmla="*/ 0 w 6216319"/>
              <a:gd name="connsiteY8" fmla="*/ 1315035 h 1315035"/>
              <a:gd name="connsiteX9" fmla="*/ 0 w 6216319"/>
              <a:gd name="connsiteY9" fmla="*/ 12831 h 1315035"/>
              <a:gd name="connsiteX0" fmla="*/ 0 w 6498499"/>
              <a:gd name="connsiteY0" fmla="*/ 0 h 1302204"/>
              <a:gd name="connsiteX1" fmla="*/ 339865 w 6498499"/>
              <a:gd name="connsiteY1" fmla="*/ 184845 h 1302204"/>
              <a:gd name="connsiteX2" fmla="*/ 2265770 w 6498499"/>
              <a:gd name="connsiteY2" fmla="*/ 508527 h 1302204"/>
              <a:gd name="connsiteX3" fmla="*/ 3244906 w 6498499"/>
              <a:gd name="connsiteY3" fmla="*/ 492343 h 1302204"/>
              <a:gd name="connsiteX4" fmla="*/ 4628644 w 6498499"/>
              <a:gd name="connsiteY4" fmla="*/ 1034510 h 1302204"/>
              <a:gd name="connsiteX5" fmla="*/ 5356927 w 6498499"/>
              <a:gd name="connsiteY5" fmla="*/ 1188258 h 1302204"/>
              <a:gd name="connsiteX6" fmla="*/ 6216319 w 6498499"/>
              <a:gd name="connsiteY6" fmla="*/ 1302204 h 1302204"/>
              <a:gd name="connsiteX7" fmla="*/ 0 w 6498499"/>
              <a:gd name="connsiteY7" fmla="*/ 1302204 h 1302204"/>
              <a:gd name="connsiteX8" fmla="*/ 0 w 6498499"/>
              <a:gd name="connsiteY8" fmla="*/ 0 h 1302204"/>
              <a:gd name="connsiteX0" fmla="*/ 0 w 6216319"/>
              <a:gd name="connsiteY0" fmla="*/ 0 h 1302204"/>
              <a:gd name="connsiteX1" fmla="*/ 339865 w 6216319"/>
              <a:gd name="connsiteY1" fmla="*/ 184845 h 1302204"/>
              <a:gd name="connsiteX2" fmla="*/ 2265770 w 6216319"/>
              <a:gd name="connsiteY2" fmla="*/ 508527 h 1302204"/>
              <a:gd name="connsiteX3" fmla="*/ 3244906 w 6216319"/>
              <a:gd name="connsiteY3" fmla="*/ 492343 h 1302204"/>
              <a:gd name="connsiteX4" fmla="*/ 4628644 w 6216319"/>
              <a:gd name="connsiteY4" fmla="*/ 1034510 h 1302204"/>
              <a:gd name="connsiteX5" fmla="*/ 5356927 w 6216319"/>
              <a:gd name="connsiteY5" fmla="*/ 1188258 h 1302204"/>
              <a:gd name="connsiteX6" fmla="*/ 6216319 w 6216319"/>
              <a:gd name="connsiteY6" fmla="*/ 1302204 h 1302204"/>
              <a:gd name="connsiteX7" fmla="*/ 0 w 6216319"/>
              <a:gd name="connsiteY7" fmla="*/ 1302204 h 1302204"/>
              <a:gd name="connsiteX8" fmla="*/ 0 w 6216319"/>
              <a:gd name="connsiteY8" fmla="*/ 0 h 1302204"/>
              <a:gd name="connsiteX0" fmla="*/ 0 w 6216319"/>
              <a:gd name="connsiteY0" fmla="*/ 0 h 1302204"/>
              <a:gd name="connsiteX1" fmla="*/ 339865 w 6216319"/>
              <a:gd name="connsiteY1" fmla="*/ 184845 h 1302204"/>
              <a:gd name="connsiteX2" fmla="*/ 2265770 w 6216319"/>
              <a:gd name="connsiteY2" fmla="*/ 508527 h 1302204"/>
              <a:gd name="connsiteX3" fmla="*/ 3244906 w 6216319"/>
              <a:gd name="connsiteY3" fmla="*/ 492343 h 1302204"/>
              <a:gd name="connsiteX4" fmla="*/ 4628644 w 6216319"/>
              <a:gd name="connsiteY4" fmla="*/ 1034510 h 1302204"/>
              <a:gd name="connsiteX5" fmla="*/ 5356927 w 6216319"/>
              <a:gd name="connsiteY5" fmla="*/ 1188258 h 1302204"/>
              <a:gd name="connsiteX6" fmla="*/ 6216319 w 6216319"/>
              <a:gd name="connsiteY6" fmla="*/ 1302204 h 1302204"/>
              <a:gd name="connsiteX7" fmla="*/ 0 w 6216319"/>
              <a:gd name="connsiteY7" fmla="*/ 1302204 h 1302204"/>
              <a:gd name="connsiteX8" fmla="*/ 0 w 6216319"/>
              <a:gd name="connsiteY8" fmla="*/ 0 h 1302204"/>
              <a:gd name="connsiteX0" fmla="*/ 0 w 6216319"/>
              <a:gd name="connsiteY0" fmla="*/ 0 h 1302204"/>
              <a:gd name="connsiteX1" fmla="*/ 339865 w 6216319"/>
              <a:gd name="connsiteY1" fmla="*/ 184845 h 1302204"/>
              <a:gd name="connsiteX2" fmla="*/ 2265770 w 6216319"/>
              <a:gd name="connsiteY2" fmla="*/ 508527 h 1302204"/>
              <a:gd name="connsiteX3" fmla="*/ 3244906 w 6216319"/>
              <a:gd name="connsiteY3" fmla="*/ 492343 h 1302204"/>
              <a:gd name="connsiteX4" fmla="*/ 4628644 w 6216319"/>
              <a:gd name="connsiteY4" fmla="*/ 1034510 h 1302204"/>
              <a:gd name="connsiteX5" fmla="*/ 5356927 w 6216319"/>
              <a:gd name="connsiteY5" fmla="*/ 1188258 h 1302204"/>
              <a:gd name="connsiteX6" fmla="*/ 6216319 w 6216319"/>
              <a:gd name="connsiteY6" fmla="*/ 1302204 h 1302204"/>
              <a:gd name="connsiteX7" fmla="*/ 0 w 6216319"/>
              <a:gd name="connsiteY7" fmla="*/ 1302204 h 1302204"/>
              <a:gd name="connsiteX8" fmla="*/ 0 w 6216319"/>
              <a:gd name="connsiteY8" fmla="*/ 0 h 1302204"/>
              <a:gd name="connsiteX0" fmla="*/ 0 w 6216319"/>
              <a:gd name="connsiteY0" fmla="*/ 0 h 1302204"/>
              <a:gd name="connsiteX1" fmla="*/ 339865 w 6216319"/>
              <a:gd name="connsiteY1" fmla="*/ 184845 h 1302204"/>
              <a:gd name="connsiteX2" fmla="*/ 2265770 w 6216319"/>
              <a:gd name="connsiteY2" fmla="*/ 508527 h 1302204"/>
              <a:gd name="connsiteX3" fmla="*/ 3244906 w 6216319"/>
              <a:gd name="connsiteY3" fmla="*/ 492343 h 1302204"/>
              <a:gd name="connsiteX4" fmla="*/ 4628644 w 6216319"/>
              <a:gd name="connsiteY4" fmla="*/ 1034510 h 1302204"/>
              <a:gd name="connsiteX5" fmla="*/ 5356927 w 6216319"/>
              <a:gd name="connsiteY5" fmla="*/ 1188258 h 1302204"/>
              <a:gd name="connsiteX6" fmla="*/ 6216319 w 6216319"/>
              <a:gd name="connsiteY6" fmla="*/ 1302204 h 1302204"/>
              <a:gd name="connsiteX7" fmla="*/ 0 w 6216319"/>
              <a:gd name="connsiteY7" fmla="*/ 1302204 h 1302204"/>
              <a:gd name="connsiteX8" fmla="*/ 0 w 6216319"/>
              <a:gd name="connsiteY8" fmla="*/ 0 h 1302204"/>
              <a:gd name="connsiteX0" fmla="*/ 0 w 6216319"/>
              <a:gd name="connsiteY0" fmla="*/ 0 h 1302204"/>
              <a:gd name="connsiteX1" fmla="*/ 339865 w 6216319"/>
              <a:gd name="connsiteY1" fmla="*/ 184845 h 1302204"/>
              <a:gd name="connsiteX2" fmla="*/ 2265770 w 6216319"/>
              <a:gd name="connsiteY2" fmla="*/ 508527 h 1302204"/>
              <a:gd name="connsiteX3" fmla="*/ 3244906 w 6216319"/>
              <a:gd name="connsiteY3" fmla="*/ 492343 h 1302204"/>
              <a:gd name="connsiteX4" fmla="*/ 4628644 w 6216319"/>
              <a:gd name="connsiteY4" fmla="*/ 1034510 h 1302204"/>
              <a:gd name="connsiteX5" fmla="*/ 5356927 w 6216319"/>
              <a:gd name="connsiteY5" fmla="*/ 1188258 h 1302204"/>
              <a:gd name="connsiteX6" fmla="*/ 6216319 w 6216319"/>
              <a:gd name="connsiteY6" fmla="*/ 1302204 h 1302204"/>
              <a:gd name="connsiteX7" fmla="*/ 0 w 6216319"/>
              <a:gd name="connsiteY7" fmla="*/ 1302204 h 1302204"/>
              <a:gd name="connsiteX8" fmla="*/ 0 w 6216319"/>
              <a:gd name="connsiteY8" fmla="*/ 0 h 1302204"/>
              <a:gd name="connsiteX0" fmla="*/ 0 w 6216319"/>
              <a:gd name="connsiteY0" fmla="*/ 0 h 1302204"/>
              <a:gd name="connsiteX1" fmla="*/ 339865 w 6216319"/>
              <a:gd name="connsiteY1" fmla="*/ 184845 h 1302204"/>
              <a:gd name="connsiteX2" fmla="*/ 2265770 w 6216319"/>
              <a:gd name="connsiteY2" fmla="*/ 508527 h 1302204"/>
              <a:gd name="connsiteX3" fmla="*/ 3244906 w 6216319"/>
              <a:gd name="connsiteY3" fmla="*/ 492343 h 1302204"/>
              <a:gd name="connsiteX4" fmla="*/ 4628644 w 6216319"/>
              <a:gd name="connsiteY4" fmla="*/ 1034510 h 1302204"/>
              <a:gd name="connsiteX5" fmla="*/ 5356927 w 6216319"/>
              <a:gd name="connsiteY5" fmla="*/ 1188258 h 1302204"/>
              <a:gd name="connsiteX6" fmla="*/ 6216319 w 6216319"/>
              <a:gd name="connsiteY6" fmla="*/ 1302204 h 1302204"/>
              <a:gd name="connsiteX7" fmla="*/ 0 w 6216319"/>
              <a:gd name="connsiteY7" fmla="*/ 1302204 h 1302204"/>
              <a:gd name="connsiteX8" fmla="*/ 0 w 6216319"/>
              <a:gd name="connsiteY8" fmla="*/ 0 h 1302204"/>
              <a:gd name="connsiteX0" fmla="*/ 0 w 6216319"/>
              <a:gd name="connsiteY0" fmla="*/ 0 h 1302204"/>
              <a:gd name="connsiteX1" fmla="*/ 339865 w 6216319"/>
              <a:gd name="connsiteY1" fmla="*/ 184845 h 1302204"/>
              <a:gd name="connsiteX2" fmla="*/ 2265770 w 6216319"/>
              <a:gd name="connsiteY2" fmla="*/ 508527 h 1302204"/>
              <a:gd name="connsiteX3" fmla="*/ 3244906 w 6216319"/>
              <a:gd name="connsiteY3" fmla="*/ 492343 h 1302204"/>
              <a:gd name="connsiteX4" fmla="*/ 4628644 w 6216319"/>
              <a:gd name="connsiteY4" fmla="*/ 1034510 h 1302204"/>
              <a:gd name="connsiteX5" fmla="*/ 5356927 w 6216319"/>
              <a:gd name="connsiteY5" fmla="*/ 1188258 h 1302204"/>
              <a:gd name="connsiteX6" fmla="*/ 6216319 w 6216319"/>
              <a:gd name="connsiteY6" fmla="*/ 1302204 h 1302204"/>
              <a:gd name="connsiteX7" fmla="*/ 0 w 6216319"/>
              <a:gd name="connsiteY7" fmla="*/ 1302204 h 1302204"/>
              <a:gd name="connsiteX8" fmla="*/ 0 w 6216319"/>
              <a:gd name="connsiteY8" fmla="*/ 0 h 1302204"/>
              <a:gd name="connsiteX0" fmla="*/ 0 w 6216319"/>
              <a:gd name="connsiteY0" fmla="*/ 0 h 1302204"/>
              <a:gd name="connsiteX1" fmla="*/ 339865 w 6216319"/>
              <a:gd name="connsiteY1" fmla="*/ 184845 h 1302204"/>
              <a:gd name="connsiteX2" fmla="*/ 2265770 w 6216319"/>
              <a:gd name="connsiteY2" fmla="*/ 508527 h 1302204"/>
              <a:gd name="connsiteX3" fmla="*/ 3244906 w 6216319"/>
              <a:gd name="connsiteY3" fmla="*/ 492343 h 1302204"/>
              <a:gd name="connsiteX4" fmla="*/ 4628644 w 6216319"/>
              <a:gd name="connsiteY4" fmla="*/ 1034510 h 1302204"/>
              <a:gd name="connsiteX5" fmla="*/ 5356927 w 6216319"/>
              <a:gd name="connsiteY5" fmla="*/ 1188258 h 1302204"/>
              <a:gd name="connsiteX6" fmla="*/ 6216319 w 6216319"/>
              <a:gd name="connsiteY6" fmla="*/ 1302204 h 1302204"/>
              <a:gd name="connsiteX7" fmla="*/ 0 w 6216319"/>
              <a:gd name="connsiteY7" fmla="*/ 1302204 h 1302204"/>
              <a:gd name="connsiteX8" fmla="*/ 0 w 6216319"/>
              <a:gd name="connsiteY8" fmla="*/ 0 h 1302204"/>
              <a:gd name="connsiteX0" fmla="*/ 0 w 6216319"/>
              <a:gd name="connsiteY0" fmla="*/ 0 h 1302204"/>
              <a:gd name="connsiteX1" fmla="*/ 339865 w 6216319"/>
              <a:gd name="connsiteY1" fmla="*/ 184845 h 1302204"/>
              <a:gd name="connsiteX2" fmla="*/ 2265770 w 6216319"/>
              <a:gd name="connsiteY2" fmla="*/ 508527 h 1302204"/>
              <a:gd name="connsiteX3" fmla="*/ 3244906 w 6216319"/>
              <a:gd name="connsiteY3" fmla="*/ 492343 h 1302204"/>
              <a:gd name="connsiteX4" fmla="*/ 4628644 w 6216319"/>
              <a:gd name="connsiteY4" fmla="*/ 1034510 h 1302204"/>
              <a:gd name="connsiteX5" fmla="*/ 5356927 w 6216319"/>
              <a:gd name="connsiteY5" fmla="*/ 1188258 h 1302204"/>
              <a:gd name="connsiteX6" fmla="*/ 6216319 w 6216319"/>
              <a:gd name="connsiteY6" fmla="*/ 1302204 h 1302204"/>
              <a:gd name="connsiteX7" fmla="*/ 0 w 6216319"/>
              <a:gd name="connsiteY7" fmla="*/ 1302204 h 1302204"/>
              <a:gd name="connsiteX8" fmla="*/ 0 w 6216319"/>
              <a:gd name="connsiteY8" fmla="*/ 0 h 1302204"/>
              <a:gd name="connsiteX0" fmla="*/ 0 w 6216319"/>
              <a:gd name="connsiteY0" fmla="*/ 0 h 1302204"/>
              <a:gd name="connsiteX1" fmla="*/ 339865 w 6216319"/>
              <a:gd name="connsiteY1" fmla="*/ 184845 h 1302204"/>
              <a:gd name="connsiteX2" fmla="*/ 2265770 w 6216319"/>
              <a:gd name="connsiteY2" fmla="*/ 508527 h 1302204"/>
              <a:gd name="connsiteX3" fmla="*/ 3244906 w 6216319"/>
              <a:gd name="connsiteY3" fmla="*/ 492343 h 1302204"/>
              <a:gd name="connsiteX4" fmla="*/ 4628644 w 6216319"/>
              <a:gd name="connsiteY4" fmla="*/ 1034510 h 1302204"/>
              <a:gd name="connsiteX5" fmla="*/ 5356927 w 6216319"/>
              <a:gd name="connsiteY5" fmla="*/ 1188258 h 1302204"/>
              <a:gd name="connsiteX6" fmla="*/ 6216319 w 6216319"/>
              <a:gd name="connsiteY6" fmla="*/ 1302204 h 1302204"/>
              <a:gd name="connsiteX7" fmla="*/ 0 w 6216319"/>
              <a:gd name="connsiteY7" fmla="*/ 1302204 h 1302204"/>
              <a:gd name="connsiteX8" fmla="*/ 0 w 6216319"/>
              <a:gd name="connsiteY8" fmla="*/ 0 h 1302204"/>
              <a:gd name="connsiteX0" fmla="*/ 0 w 6216319"/>
              <a:gd name="connsiteY0" fmla="*/ 0 h 1302204"/>
              <a:gd name="connsiteX1" fmla="*/ 339865 w 6216319"/>
              <a:gd name="connsiteY1" fmla="*/ 184845 h 1302204"/>
              <a:gd name="connsiteX2" fmla="*/ 2265770 w 6216319"/>
              <a:gd name="connsiteY2" fmla="*/ 508527 h 1302204"/>
              <a:gd name="connsiteX3" fmla="*/ 3244906 w 6216319"/>
              <a:gd name="connsiteY3" fmla="*/ 492343 h 1302204"/>
              <a:gd name="connsiteX4" fmla="*/ 4628644 w 6216319"/>
              <a:gd name="connsiteY4" fmla="*/ 1034510 h 1302204"/>
              <a:gd name="connsiteX5" fmla="*/ 5356927 w 6216319"/>
              <a:gd name="connsiteY5" fmla="*/ 1188258 h 1302204"/>
              <a:gd name="connsiteX6" fmla="*/ 6216319 w 6216319"/>
              <a:gd name="connsiteY6" fmla="*/ 1302204 h 1302204"/>
              <a:gd name="connsiteX7" fmla="*/ 0 w 6216319"/>
              <a:gd name="connsiteY7" fmla="*/ 1302204 h 1302204"/>
              <a:gd name="connsiteX8" fmla="*/ 0 w 6216319"/>
              <a:gd name="connsiteY8" fmla="*/ 0 h 1302204"/>
              <a:gd name="connsiteX0" fmla="*/ 0 w 6216319"/>
              <a:gd name="connsiteY0" fmla="*/ 0 h 1302204"/>
              <a:gd name="connsiteX1" fmla="*/ 339865 w 6216319"/>
              <a:gd name="connsiteY1" fmla="*/ 184845 h 1302204"/>
              <a:gd name="connsiteX2" fmla="*/ 2265770 w 6216319"/>
              <a:gd name="connsiteY2" fmla="*/ 508527 h 1302204"/>
              <a:gd name="connsiteX3" fmla="*/ 3244906 w 6216319"/>
              <a:gd name="connsiteY3" fmla="*/ 492343 h 1302204"/>
              <a:gd name="connsiteX4" fmla="*/ 4628644 w 6216319"/>
              <a:gd name="connsiteY4" fmla="*/ 1034510 h 1302204"/>
              <a:gd name="connsiteX5" fmla="*/ 5356927 w 6216319"/>
              <a:gd name="connsiteY5" fmla="*/ 1188258 h 1302204"/>
              <a:gd name="connsiteX6" fmla="*/ 6216319 w 6216319"/>
              <a:gd name="connsiteY6" fmla="*/ 1302204 h 1302204"/>
              <a:gd name="connsiteX7" fmla="*/ 0 w 6216319"/>
              <a:gd name="connsiteY7" fmla="*/ 1302204 h 1302204"/>
              <a:gd name="connsiteX8" fmla="*/ 0 w 6216319"/>
              <a:gd name="connsiteY8" fmla="*/ 0 h 1302204"/>
              <a:gd name="connsiteX0" fmla="*/ 0 w 6216319"/>
              <a:gd name="connsiteY0" fmla="*/ 147589 h 1449793"/>
              <a:gd name="connsiteX1" fmla="*/ 339865 w 6216319"/>
              <a:gd name="connsiteY1" fmla="*/ 332434 h 1449793"/>
              <a:gd name="connsiteX2" fmla="*/ 2265770 w 6216319"/>
              <a:gd name="connsiteY2" fmla="*/ 656116 h 1449793"/>
              <a:gd name="connsiteX3" fmla="*/ 3244906 w 6216319"/>
              <a:gd name="connsiteY3" fmla="*/ 639932 h 1449793"/>
              <a:gd name="connsiteX4" fmla="*/ 4628644 w 6216319"/>
              <a:gd name="connsiteY4" fmla="*/ 1182099 h 1449793"/>
              <a:gd name="connsiteX5" fmla="*/ 5356927 w 6216319"/>
              <a:gd name="connsiteY5" fmla="*/ 1335847 h 1449793"/>
              <a:gd name="connsiteX6" fmla="*/ 6216319 w 6216319"/>
              <a:gd name="connsiteY6" fmla="*/ 1449793 h 1449793"/>
              <a:gd name="connsiteX7" fmla="*/ 0 w 6216319"/>
              <a:gd name="connsiteY7" fmla="*/ 1449793 h 1449793"/>
              <a:gd name="connsiteX8" fmla="*/ 0 w 6216319"/>
              <a:gd name="connsiteY8" fmla="*/ 147589 h 1449793"/>
              <a:gd name="connsiteX0" fmla="*/ 0 w 6216319"/>
              <a:gd name="connsiteY0" fmla="*/ 121021 h 1423225"/>
              <a:gd name="connsiteX1" fmla="*/ 339865 w 6216319"/>
              <a:gd name="connsiteY1" fmla="*/ 305866 h 1423225"/>
              <a:gd name="connsiteX2" fmla="*/ 2265770 w 6216319"/>
              <a:gd name="connsiteY2" fmla="*/ 629548 h 1423225"/>
              <a:gd name="connsiteX3" fmla="*/ 3244906 w 6216319"/>
              <a:gd name="connsiteY3" fmla="*/ 613364 h 1423225"/>
              <a:gd name="connsiteX4" fmla="*/ 4628644 w 6216319"/>
              <a:gd name="connsiteY4" fmla="*/ 1155531 h 1423225"/>
              <a:gd name="connsiteX5" fmla="*/ 5356927 w 6216319"/>
              <a:gd name="connsiteY5" fmla="*/ 1309279 h 1423225"/>
              <a:gd name="connsiteX6" fmla="*/ 6216319 w 6216319"/>
              <a:gd name="connsiteY6" fmla="*/ 1423225 h 1423225"/>
              <a:gd name="connsiteX7" fmla="*/ 0 w 6216319"/>
              <a:gd name="connsiteY7" fmla="*/ 1423225 h 1423225"/>
              <a:gd name="connsiteX8" fmla="*/ 0 w 6216319"/>
              <a:gd name="connsiteY8" fmla="*/ 121021 h 1423225"/>
              <a:gd name="connsiteX0" fmla="*/ 0 w 6216319"/>
              <a:gd name="connsiteY0" fmla="*/ 121021 h 1423225"/>
              <a:gd name="connsiteX1" fmla="*/ 339865 w 6216319"/>
              <a:gd name="connsiteY1" fmla="*/ 305866 h 1423225"/>
              <a:gd name="connsiteX2" fmla="*/ 2265770 w 6216319"/>
              <a:gd name="connsiteY2" fmla="*/ 629548 h 1423225"/>
              <a:gd name="connsiteX3" fmla="*/ 3244906 w 6216319"/>
              <a:gd name="connsiteY3" fmla="*/ 613364 h 1423225"/>
              <a:gd name="connsiteX4" fmla="*/ 4628644 w 6216319"/>
              <a:gd name="connsiteY4" fmla="*/ 1155531 h 1423225"/>
              <a:gd name="connsiteX5" fmla="*/ 5356927 w 6216319"/>
              <a:gd name="connsiteY5" fmla="*/ 1309279 h 1423225"/>
              <a:gd name="connsiteX6" fmla="*/ 6216319 w 6216319"/>
              <a:gd name="connsiteY6" fmla="*/ 1423225 h 1423225"/>
              <a:gd name="connsiteX7" fmla="*/ 0 w 6216319"/>
              <a:gd name="connsiteY7" fmla="*/ 1423225 h 1423225"/>
              <a:gd name="connsiteX8" fmla="*/ 0 w 6216319"/>
              <a:gd name="connsiteY8" fmla="*/ 121021 h 1423225"/>
              <a:gd name="connsiteX0" fmla="*/ 0 w 6216319"/>
              <a:gd name="connsiteY0" fmla="*/ 140194 h 1442398"/>
              <a:gd name="connsiteX1" fmla="*/ 339865 w 6216319"/>
              <a:gd name="connsiteY1" fmla="*/ 325039 h 1442398"/>
              <a:gd name="connsiteX2" fmla="*/ 2265770 w 6216319"/>
              <a:gd name="connsiteY2" fmla="*/ 648721 h 1442398"/>
              <a:gd name="connsiteX3" fmla="*/ 3244906 w 6216319"/>
              <a:gd name="connsiteY3" fmla="*/ 632537 h 1442398"/>
              <a:gd name="connsiteX4" fmla="*/ 4628644 w 6216319"/>
              <a:gd name="connsiteY4" fmla="*/ 1174704 h 1442398"/>
              <a:gd name="connsiteX5" fmla="*/ 5356927 w 6216319"/>
              <a:gd name="connsiteY5" fmla="*/ 1328452 h 1442398"/>
              <a:gd name="connsiteX6" fmla="*/ 6216319 w 6216319"/>
              <a:gd name="connsiteY6" fmla="*/ 1442398 h 1442398"/>
              <a:gd name="connsiteX7" fmla="*/ 0 w 6216319"/>
              <a:gd name="connsiteY7" fmla="*/ 1442398 h 1442398"/>
              <a:gd name="connsiteX8" fmla="*/ 0 w 6216319"/>
              <a:gd name="connsiteY8" fmla="*/ 140194 h 1442398"/>
              <a:gd name="connsiteX0" fmla="*/ 0 w 6216319"/>
              <a:gd name="connsiteY0" fmla="*/ 140194 h 1442398"/>
              <a:gd name="connsiteX1" fmla="*/ 339865 w 6216319"/>
              <a:gd name="connsiteY1" fmla="*/ 325039 h 1442398"/>
              <a:gd name="connsiteX2" fmla="*/ 2265770 w 6216319"/>
              <a:gd name="connsiteY2" fmla="*/ 648721 h 1442398"/>
              <a:gd name="connsiteX3" fmla="*/ 3244906 w 6216319"/>
              <a:gd name="connsiteY3" fmla="*/ 632537 h 1442398"/>
              <a:gd name="connsiteX4" fmla="*/ 4628644 w 6216319"/>
              <a:gd name="connsiteY4" fmla="*/ 1174704 h 1442398"/>
              <a:gd name="connsiteX5" fmla="*/ 5356927 w 6216319"/>
              <a:gd name="connsiteY5" fmla="*/ 1328452 h 1442398"/>
              <a:gd name="connsiteX6" fmla="*/ 6216319 w 6216319"/>
              <a:gd name="connsiteY6" fmla="*/ 1442398 h 1442398"/>
              <a:gd name="connsiteX7" fmla="*/ 0 w 6216319"/>
              <a:gd name="connsiteY7" fmla="*/ 1442398 h 1442398"/>
              <a:gd name="connsiteX8" fmla="*/ 0 w 6216319"/>
              <a:gd name="connsiteY8" fmla="*/ 140194 h 1442398"/>
              <a:gd name="connsiteX0" fmla="*/ 0 w 6216319"/>
              <a:gd name="connsiteY0" fmla="*/ 34944 h 1337148"/>
              <a:gd name="connsiteX1" fmla="*/ 339865 w 6216319"/>
              <a:gd name="connsiteY1" fmla="*/ 219789 h 1337148"/>
              <a:gd name="connsiteX2" fmla="*/ 2265770 w 6216319"/>
              <a:gd name="connsiteY2" fmla="*/ 543471 h 1337148"/>
              <a:gd name="connsiteX3" fmla="*/ 3244906 w 6216319"/>
              <a:gd name="connsiteY3" fmla="*/ 527287 h 1337148"/>
              <a:gd name="connsiteX4" fmla="*/ 4628644 w 6216319"/>
              <a:gd name="connsiteY4" fmla="*/ 1069454 h 1337148"/>
              <a:gd name="connsiteX5" fmla="*/ 5356927 w 6216319"/>
              <a:gd name="connsiteY5" fmla="*/ 1223202 h 1337148"/>
              <a:gd name="connsiteX6" fmla="*/ 6216319 w 6216319"/>
              <a:gd name="connsiteY6" fmla="*/ 1337148 h 1337148"/>
              <a:gd name="connsiteX7" fmla="*/ 0 w 6216319"/>
              <a:gd name="connsiteY7" fmla="*/ 1337148 h 1337148"/>
              <a:gd name="connsiteX8" fmla="*/ 0 w 6216319"/>
              <a:gd name="connsiteY8" fmla="*/ 34944 h 1337148"/>
              <a:gd name="connsiteX0" fmla="*/ 0 w 6216319"/>
              <a:gd name="connsiteY0" fmla="*/ 44896 h 1347100"/>
              <a:gd name="connsiteX1" fmla="*/ 339865 w 6216319"/>
              <a:gd name="connsiteY1" fmla="*/ 229741 h 1347100"/>
              <a:gd name="connsiteX2" fmla="*/ 2265770 w 6216319"/>
              <a:gd name="connsiteY2" fmla="*/ 553423 h 1347100"/>
              <a:gd name="connsiteX3" fmla="*/ 3244906 w 6216319"/>
              <a:gd name="connsiteY3" fmla="*/ 537239 h 1347100"/>
              <a:gd name="connsiteX4" fmla="*/ 4628644 w 6216319"/>
              <a:gd name="connsiteY4" fmla="*/ 1079406 h 1347100"/>
              <a:gd name="connsiteX5" fmla="*/ 5356927 w 6216319"/>
              <a:gd name="connsiteY5" fmla="*/ 1233154 h 1347100"/>
              <a:gd name="connsiteX6" fmla="*/ 6216319 w 6216319"/>
              <a:gd name="connsiteY6" fmla="*/ 1347100 h 1347100"/>
              <a:gd name="connsiteX7" fmla="*/ 0 w 6216319"/>
              <a:gd name="connsiteY7" fmla="*/ 1347100 h 1347100"/>
              <a:gd name="connsiteX8" fmla="*/ 0 w 6216319"/>
              <a:gd name="connsiteY8" fmla="*/ 44896 h 1347100"/>
              <a:gd name="connsiteX0" fmla="*/ 0 w 6216319"/>
              <a:gd name="connsiteY0" fmla="*/ 44896 h 1347100"/>
              <a:gd name="connsiteX1" fmla="*/ 339865 w 6216319"/>
              <a:gd name="connsiteY1" fmla="*/ 229741 h 1347100"/>
              <a:gd name="connsiteX2" fmla="*/ 2265770 w 6216319"/>
              <a:gd name="connsiteY2" fmla="*/ 553423 h 1347100"/>
              <a:gd name="connsiteX3" fmla="*/ 3244906 w 6216319"/>
              <a:gd name="connsiteY3" fmla="*/ 537239 h 1347100"/>
              <a:gd name="connsiteX4" fmla="*/ 4628644 w 6216319"/>
              <a:gd name="connsiteY4" fmla="*/ 1079406 h 1347100"/>
              <a:gd name="connsiteX5" fmla="*/ 5356927 w 6216319"/>
              <a:gd name="connsiteY5" fmla="*/ 1233154 h 1347100"/>
              <a:gd name="connsiteX6" fmla="*/ 6216319 w 6216319"/>
              <a:gd name="connsiteY6" fmla="*/ 1347100 h 1347100"/>
              <a:gd name="connsiteX7" fmla="*/ 0 w 6216319"/>
              <a:gd name="connsiteY7" fmla="*/ 1347100 h 1347100"/>
              <a:gd name="connsiteX8" fmla="*/ 0 w 6216319"/>
              <a:gd name="connsiteY8" fmla="*/ 44896 h 1347100"/>
              <a:gd name="connsiteX0" fmla="*/ 0 w 6216319"/>
              <a:gd name="connsiteY0" fmla="*/ 530 h 1302734"/>
              <a:gd name="connsiteX1" fmla="*/ 339865 w 6216319"/>
              <a:gd name="connsiteY1" fmla="*/ 185375 h 1302734"/>
              <a:gd name="connsiteX2" fmla="*/ 2265770 w 6216319"/>
              <a:gd name="connsiteY2" fmla="*/ 509057 h 1302734"/>
              <a:gd name="connsiteX3" fmla="*/ 3244906 w 6216319"/>
              <a:gd name="connsiteY3" fmla="*/ 492873 h 1302734"/>
              <a:gd name="connsiteX4" fmla="*/ 4628644 w 6216319"/>
              <a:gd name="connsiteY4" fmla="*/ 1035040 h 1302734"/>
              <a:gd name="connsiteX5" fmla="*/ 5356927 w 6216319"/>
              <a:gd name="connsiteY5" fmla="*/ 1188788 h 1302734"/>
              <a:gd name="connsiteX6" fmla="*/ 6216319 w 6216319"/>
              <a:gd name="connsiteY6" fmla="*/ 1302734 h 1302734"/>
              <a:gd name="connsiteX7" fmla="*/ 0 w 6216319"/>
              <a:gd name="connsiteY7" fmla="*/ 1302734 h 1302734"/>
              <a:gd name="connsiteX8" fmla="*/ 0 w 6216319"/>
              <a:gd name="connsiteY8" fmla="*/ 530 h 1302734"/>
              <a:gd name="connsiteX0" fmla="*/ 0 w 6216319"/>
              <a:gd name="connsiteY0" fmla="*/ 20163 h 1322367"/>
              <a:gd name="connsiteX1" fmla="*/ 2265770 w 6216319"/>
              <a:gd name="connsiteY1" fmla="*/ 528690 h 1322367"/>
              <a:gd name="connsiteX2" fmla="*/ 3244906 w 6216319"/>
              <a:gd name="connsiteY2" fmla="*/ 512506 h 1322367"/>
              <a:gd name="connsiteX3" fmla="*/ 4628644 w 6216319"/>
              <a:gd name="connsiteY3" fmla="*/ 1054673 h 1322367"/>
              <a:gd name="connsiteX4" fmla="*/ 5356927 w 6216319"/>
              <a:gd name="connsiteY4" fmla="*/ 1208421 h 1322367"/>
              <a:gd name="connsiteX5" fmla="*/ 6216319 w 6216319"/>
              <a:gd name="connsiteY5" fmla="*/ 1322367 h 1322367"/>
              <a:gd name="connsiteX6" fmla="*/ 0 w 6216319"/>
              <a:gd name="connsiteY6" fmla="*/ 1322367 h 1322367"/>
              <a:gd name="connsiteX7" fmla="*/ 0 w 6216319"/>
              <a:gd name="connsiteY7" fmla="*/ 20163 h 1322367"/>
              <a:gd name="connsiteX0" fmla="*/ 0 w 6216319"/>
              <a:gd name="connsiteY0" fmla="*/ 105646 h 1407850"/>
              <a:gd name="connsiteX1" fmla="*/ 477430 w 6216319"/>
              <a:gd name="connsiteY1" fmla="*/ 136745 h 1407850"/>
              <a:gd name="connsiteX2" fmla="*/ 2265770 w 6216319"/>
              <a:gd name="connsiteY2" fmla="*/ 614173 h 1407850"/>
              <a:gd name="connsiteX3" fmla="*/ 3244906 w 6216319"/>
              <a:gd name="connsiteY3" fmla="*/ 597989 h 1407850"/>
              <a:gd name="connsiteX4" fmla="*/ 4628644 w 6216319"/>
              <a:gd name="connsiteY4" fmla="*/ 1140156 h 1407850"/>
              <a:gd name="connsiteX5" fmla="*/ 5356927 w 6216319"/>
              <a:gd name="connsiteY5" fmla="*/ 1293904 h 1407850"/>
              <a:gd name="connsiteX6" fmla="*/ 6216319 w 6216319"/>
              <a:gd name="connsiteY6" fmla="*/ 1407850 h 1407850"/>
              <a:gd name="connsiteX7" fmla="*/ 0 w 6216319"/>
              <a:gd name="connsiteY7" fmla="*/ 1407850 h 1407850"/>
              <a:gd name="connsiteX8" fmla="*/ 0 w 6216319"/>
              <a:gd name="connsiteY8" fmla="*/ 105646 h 1407850"/>
              <a:gd name="connsiteX0" fmla="*/ 0 w 6216319"/>
              <a:gd name="connsiteY0" fmla="*/ 71230 h 1373434"/>
              <a:gd name="connsiteX1" fmla="*/ 323681 w 6216319"/>
              <a:gd name="connsiteY1" fmla="*/ 264170 h 1373434"/>
              <a:gd name="connsiteX2" fmla="*/ 2265770 w 6216319"/>
              <a:gd name="connsiteY2" fmla="*/ 579757 h 1373434"/>
              <a:gd name="connsiteX3" fmla="*/ 3244906 w 6216319"/>
              <a:gd name="connsiteY3" fmla="*/ 563573 h 1373434"/>
              <a:gd name="connsiteX4" fmla="*/ 4628644 w 6216319"/>
              <a:gd name="connsiteY4" fmla="*/ 1105740 h 1373434"/>
              <a:gd name="connsiteX5" fmla="*/ 5356927 w 6216319"/>
              <a:gd name="connsiteY5" fmla="*/ 1259488 h 1373434"/>
              <a:gd name="connsiteX6" fmla="*/ 6216319 w 6216319"/>
              <a:gd name="connsiteY6" fmla="*/ 1373434 h 1373434"/>
              <a:gd name="connsiteX7" fmla="*/ 0 w 6216319"/>
              <a:gd name="connsiteY7" fmla="*/ 1373434 h 1373434"/>
              <a:gd name="connsiteX8" fmla="*/ 0 w 6216319"/>
              <a:gd name="connsiteY8" fmla="*/ 71230 h 1373434"/>
              <a:gd name="connsiteX0" fmla="*/ 0 w 6216319"/>
              <a:gd name="connsiteY0" fmla="*/ 71230 h 1373434"/>
              <a:gd name="connsiteX1" fmla="*/ 323681 w 6216319"/>
              <a:gd name="connsiteY1" fmla="*/ 264170 h 1373434"/>
              <a:gd name="connsiteX2" fmla="*/ 2265770 w 6216319"/>
              <a:gd name="connsiteY2" fmla="*/ 579757 h 1373434"/>
              <a:gd name="connsiteX3" fmla="*/ 3244906 w 6216319"/>
              <a:gd name="connsiteY3" fmla="*/ 563573 h 1373434"/>
              <a:gd name="connsiteX4" fmla="*/ 4628644 w 6216319"/>
              <a:gd name="connsiteY4" fmla="*/ 1105740 h 1373434"/>
              <a:gd name="connsiteX5" fmla="*/ 5356927 w 6216319"/>
              <a:gd name="connsiteY5" fmla="*/ 1259488 h 1373434"/>
              <a:gd name="connsiteX6" fmla="*/ 6216319 w 6216319"/>
              <a:gd name="connsiteY6" fmla="*/ 1373434 h 1373434"/>
              <a:gd name="connsiteX7" fmla="*/ 0 w 6216319"/>
              <a:gd name="connsiteY7" fmla="*/ 1373434 h 1373434"/>
              <a:gd name="connsiteX8" fmla="*/ 0 w 6216319"/>
              <a:gd name="connsiteY8" fmla="*/ 71230 h 1373434"/>
              <a:gd name="connsiteX0" fmla="*/ 0 w 6216319"/>
              <a:gd name="connsiteY0" fmla="*/ 147399 h 1449603"/>
              <a:gd name="connsiteX1" fmla="*/ 323681 w 6216319"/>
              <a:gd name="connsiteY1" fmla="*/ 340339 h 1449603"/>
              <a:gd name="connsiteX2" fmla="*/ 2265770 w 6216319"/>
              <a:gd name="connsiteY2" fmla="*/ 655926 h 1449603"/>
              <a:gd name="connsiteX3" fmla="*/ 3244906 w 6216319"/>
              <a:gd name="connsiteY3" fmla="*/ 639742 h 1449603"/>
              <a:gd name="connsiteX4" fmla="*/ 4628644 w 6216319"/>
              <a:gd name="connsiteY4" fmla="*/ 1181909 h 1449603"/>
              <a:gd name="connsiteX5" fmla="*/ 5356927 w 6216319"/>
              <a:gd name="connsiteY5" fmla="*/ 1335657 h 1449603"/>
              <a:gd name="connsiteX6" fmla="*/ 6216319 w 6216319"/>
              <a:gd name="connsiteY6" fmla="*/ 1449603 h 1449603"/>
              <a:gd name="connsiteX7" fmla="*/ 0 w 6216319"/>
              <a:gd name="connsiteY7" fmla="*/ 1449603 h 1449603"/>
              <a:gd name="connsiteX8" fmla="*/ 0 w 6216319"/>
              <a:gd name="connsiteY8" fmla="*/ 147399 h 1449603"/>
              <a:gd name="connsiteX0" fmla="*/ 0 w 6216319"/>
              <a:gd name="connsiteY0" fmla="*/ 147399 h 1449603"/>
              <a:gd name="connsiteX1" fmla="*/ 323681 w 6216319"/>
              <a:gd name="connsiteY1" fmla="*/ 340339 h 1449603"/>
              <a:gd name="connsiteX2" fmla="*/ 2265770 w 6216319"/>
              <a:gd name="connsiteY2" fmla="*/ 655926 h 1449603"/>
              <a:gd name="connsiteX3" fmla="*/ 3244906 w 6216319"/>
              <a:gd name="connsiteY3" fmla="*/ 639742 h 1449603"/>
              <a:gd name="connsiteX4" fmla="*/ 4628644 w 6216319"/>
              <a:gd name="connsiteY4" fmla="*/ 1181909 h 1449603"/>
              <a:gd name="connsiteX5" fmla="*/ 5356927 w 6216319"/>
              <a:gd name="connsiteY5" fmla="*/ 1335657 h 1449603"/>
              <a:gd name="connsiteX6" fmla="*/ 6216319 w 6216319"/>
              <a:gd name="connsiteY6" fmla="*/ 1449603 h 1449603"/>
              <a:gd name="connsiteX7" fmla="*/ 0 w 6216319"/>
              <a:gd name="connsiteY7" fmla="*/ 1449603 h 1449603"/>
              <a:gd name="connsiteX8" fmla="*/ 0 w 6216319"/>
              <a:gd name="connsiteY8" fmla="*/ 147399 h 1449603"/>
              <a:gd name="connsiteX0" fmla="*/ 0 w 6216319"/>
              <a:gd name="connsiteY0" fmla="*/ 147399 h 1449603"/>
              <a:gd name="connsiteX1" fmla="*/ 323681 w 6216319"/>
              <a:gd name="connsiteY1" fmla="*/ 340339 h 1449603"/>
              <a:gd name="connsiteX2" fmla="*/ 2265770 w 6216319"/>
              <a:gd name="connsiteY2" fmla="*/ 655926 h 1449603"/>
              <a:gd name="connsiteX3" fmla="*/ 3244906 w 6216319"/>
              <a:gd name="connsiteY3" fmla="*/ 639742 h 1449603"/>
              <a:gd name="connsiteX4" fmla="*/ 4628644 w 6216319"/>
              <a:gd name="connsiteY4" fmla="*/ 1181909 h 1449603"/>
              <a:gd name="connsiteX5" fmla="*/ 5356927 w 6216319"/>
              <a:gd name="connsiteY5" fmla="*/ 1335657 h 1449603"/>
              <a:gd name="connsiteX6" fmla="*/ 6216319 w 6216319"/>
              <a:gd name="connsiteY6" fmla="*/ 1449603 h 1449603"/>
              <a:gd name="connsiteX7" fmla="*/ 0 w 6216319"/>
              <a:gd name="connsiteY7" fmla="*/ 1449603 h 1449603"/>
              <a:gd name="connsiteX8" fmla="*/ 0 w 6216319"/>
              <a:gd name="connsiteY8" fmla="*/ 147399 h 1449603"/>
              <a:gd name="connsiteX0" fmla="*/ 0 w 6216319"/>
              <a:gd name="connsiteY0" fmla="*/ 147399 h 1449603"/>
              <a:gd name="connsiteX1" fmla="*/ 323681 w 6216319"/>
              <a:gd name="connsiteY1" fmla="*/ 340339 h 1449603"/>
              <a:gd name="connsiteX2" fmla="*/ 2265770 w 6216319"/>
              <a:gd name="connsiteY2" fmla="*/ 655926 h 1449603"/>
              <a:gd name="connsiteX3" fmla="*/ 3244906 w 6216319"/>
              <a:gd name="connsiteY3" fmla="*/ 639742 h 1449603"/>
              <a:gd name="connsiteX4" fmla="*/ 4628644 w 6216319"/>
              <a:gd name="connsiteY4" fmla="*/ 1181909 h 1449603"/>
              <a:gd name="connsiteX5" fmla="*/ 5356927 w 6216319"/>
              <a:gd name="connsiteY5" fmla="*/ 1335657 h 1449603"/>
              <a:gd name="connsiteX6" fmla="*/ 6216319 w 6216319"/>
              <a:gd name="connsiteY6" fmla="*/ 1449603 h 1449603"/>
              <a:gd name="connsiteX7" fmla="*/ 0 w 6216319"/>
              <a:gd name="connsiteY7" fmla="*/ 1449603 h 1449603"/>
              <a:gd name="connsiteX8" fmla="*/ 0 w 6216319"/>
              <a:gd name="connsiteY8" fmla="*/ 147399 h 1449603"/>
              <a:gd name="connsiteX0" fmla="*/ 0 w 6216319"/>
              <a:gd name="connsiteY0" fmla="*/ 147399 h 1449603"/>
              <a:gd name="connsiteX1" fmla="*/ 323681 w 6216319"/>
              <a:gd name="connsiteY1" fmla="*/ 340339 h 1449603"/>
              <a:gd name="connsiteX2" fmla="*/ 2265770 w 6216319"/>
              <a:gd name="connsiteY2" fmla="*/ 655926 h 1449603"/>
              <a:gd name="connsiteX3" fmla="*/ 3244906 w 6216319"/>
              <a:gd name="connsiteY3" fmla="*/ 639742 h 1449603"/>
              <a:gd name="connsiteX4" fmla="*/ 4628644 w 6216319"/>
              <a:gd name="connsiteY4" fmla="*/ 1181909 h 1449603"/>
              <a:gd name="connsiteX5" fmla="*/ 5356927 w 6216319"/>
              <a:gd name="connsiteY5" fmla="*/ 1335657 h 1449603"/>
              <a:gd name="connsiteX6" fmla="*/ 6216319 w 6216319"/>
              <a:gd name="connsiteY6" fmla="*/ 1449603 h 1449603"/>
              <a:gd name="connsiteX7" fmla="*/ 0 w 6216319"/>
              <a:gd name="connsiteY7" fmla="*/ 1449603 h 1449603"/>
              <a:gd name="connsiteX8" fmla="*/ 0 w 6216319"/>
              <a:gd name="connsiteY8" fmla="*/ 147399 h 1449603"/>
              <a:gd name="connsiteX0" fmla="*/ 0 w 6216319"/>
              <a:gd name="connsiteY0" fmla="*/ 147399 h 1449603"/>
              <a:gd name="connsiteX1" fmla="*/ 323681 w 6216319"/>
              <a:gd name="connsiteY1" fmla="*/ 340339 h 1449603"/>
              <a:gd name="connsiteX2" fmla="*/ 2265770 w 6216319"/>
              <a:gd name="connsiteY2" fmla="*/ 655926 h 1449603"/>
              <a:gd name="connsiteX3" fmla="*/ 3244906 w 6216319"/>
              <a:gd name="connsiteY3" fmla="*/ 639742 h 1449603"/>
              <a:gd name="connsiteX4" fmla="*/ 4628644 w 6216319"/>
              <a:gd name="connsiteY4" fmla="*/ 1181909 h 1449603"/>
              <a:gd name="connsiteX5" fmla="*/ 5356927 w 6216319"/>
              <a:gd name="connsiteY5" fmla="*/ 1335657 h 1449603"/>
              <a:gd name="connsiteX6" fmla="*/ 6216319 w 6216319"/>
              <a:gd name="connsiteY6" fmla="*/ 1449603 h 1449603"/>
              <a:gd name="connsiteX7" fmla="*/ 0 w 6216319"/>
              <a:gd name="connsiteY7" fmla="*/ 1449603 h 1449603"/>
              <a:gd name="connsiteX8" fmla="*/ 0 w 6216319"/>
              <a:gd name="connsiteY8" fmla="*/ 147399 h 1449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16319" h="1449603">
                <a:moveTo>
                  <a:pt x="0" y="147399"/>
                </a:moveTo>
                <a:cubicBezTo>
                  <a:pt x="229007" y="145469"/>
                  <a:pt x="222661" y="142579"/>
                  <a:pt x="323681" y="340339"/>
                </a:cubicBezTo>
                <a:cubicBezTo>
                  <a:pt x="1138279" y="-367925"/>
                  <a:pt x="1885444" y="174450"/>
                  <a:pt x="2265770" y="655926"/>
                </a:cubicBezTo>
                <a:cubicBezTo>
                  <a:pt x="2462677" y="479250"/>
                  <a:pt x="2932015" y="355171"/>
                  <a:pt x="3244906" y="639742"/>
                </a:cubicBezTo>
                <a:cubicBezTo>
                  <a:pt x="3517337" y="171753"/>
                  <a:pt x="4733841" y="449580"/>
                  <a:pt x="4628644" y="1181909"/>
                </a:cubicBezTo>
                <a:cubicBezTo>
                  <a:pt x="4984694" y="1080758"/>
                  <a:pt x="5181328" y="1161569"/>
                  <a:pt x="5356927" y="1335657"/>
                </a:cubicBezTo>
                <a:cubicBezTo>
                  <a:pt x="5451606" y="1194156"/>
                  <a:pt x="6105728" y="1026010"/>
                  <a:pt x="6216319" y="1449603"/>
                </a:cubicBezTo>
                <a:lnTo>
                  <a:pt x="0" y="1449603"/>
                </a:lnTo>
                <a:lnTo>
                  <a:pt x="0" y="147399"/>
                </a:lnTo>
                <a:close/>
              </a:path>
            </a:pathLst>
          </a:custGeom>
          <a:solidFill>
            <a:schemeClr val="bg1">
              <a:lumMod val="75000"/>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3" name="Rectangle 242">
            <a:extLst>
              <a:ext uri="{FF2B5EF4-FFF2-40B4-BE49-F238E27FC236}">
                <a16:creationId xmlns:a16="http://schemas.microsoft.com/office/drawing/2014/main" id="{3D59DFB9-4CA5-4945-97D7-919A19662BCD}"/>
              </a:ext>
            </a:extLst>
          </p:cNvPr>
          <p:cNvSpPr/>
          <p:nvPr/>
        </p:nvSpPr>
        <p:spPr>
          <a:xfrm>
            <a:off x="2719219" y="2872355"/>
            <a:ext cx="4376887" cy="369332"/>
          </a:xfrm>
          <a:prstGeom prst="rect">
            <a:avLst/>
          </a:prstGeom>
        </p:spPr>
        <p:txBody>
          <a:bodyPr wrap="square">
            <a:spAutoFit/>
          </a:bodyPr>
          <a:lstStyle/>
          <a:p>
            <a:r>
              <a:rPr lang="en-US" sz="1800" dirty="0">
                <a:latin typeface="Lato" charset="0"/>
                <a:ea typeface="Lato" charset="0"/>
                <a:cs typeface="Lato" charset="0"/>
              </a:rPr>
              <a:t>360-degree product lifecycle services</a:t>
            </a:r>
          </a:p>
        </p:txBody>
      </p:sp>
      <p:sp>
        <p:nvSpPr>
          <p:cNvPr id="244" name="Rectangle 243">
            <a:extLst>
              <a:ext uri="{FF2B5EF4-FFF2-40B4-BE49-F238E27FC236}">
                <a16:creationId xmlns:a16="http://schemas.microsoft.com/office/drawing/2014/main" id="{F484B651-6042-6042-8560-5D5A46740755}"/>
              </a:ext>
            </a:extLst>
          </p:cNvPr>
          <p:cNvSpPr/>
          <p:nvPr/>
        </p:nvSpPr>
        <p:spPr>
          <a:xfrm>
            <a:off x="8284513" y="3066123"/>
            <a:ext cx="3901089" cy="507831"/>
          </a:xfrm>
          <a:prstGeom prst="rect">
            <a:avLst/>
          </a:prstGeom>
        </p:spPr>
        <p:txBody>
          <a:bodyPr wrap="square">
            <a:spAutoFit/>
          </a:bodyPr>
          <a:lstStyle/>
          <a:p>
            <a:r>
              <a:rPr lang="en-US" sz="900" dirty="0">
                <a:solidFill>
                  <a:schemeClr val="tx1"/>
                </a:solidFill>
                <a:latin typeface="Lato" charset="0"/>
                <a:ea typeface="Lato" charset="0"/>
                <a:cs typeface="Lato" charset="0"/>
                <a:sym typeface="Proxima Nova"/>
              </a:rPr>
              <a:t>Innominds is a product engineering services company specialized in providing end-to-end product life cycle services from product ideation to commercialization including product maintenance &amp; support. </a:t>
            </a:r>
            <a:endParaRPr lang="en-US" sz="900" dirty="0"/>
          </a:p>
        </p:txBody>
      </p:sp>
      <p:sp>
        <p:nvSpPr>
          <p:cNvPr id="245" name="Rectangle 244">
            <a:extLst>
              <a:ext uri="{FF2B5EF4-FFF2-40B4-BE49-F238E27FC236}">
                <a16:creationId xmlns:a16="http://schemas.microsoft.com/office/drawing/2014/main" id="{A405D128-7C63-6349-B4EA-8B32D56CA839}"/>
              </a:ext>
            </a:extLst>
          </p:cNvPr>
          <p:cNvSpPr/>
          <p:nvPr/>
        </p:nvSpPr>
        <p:spPr>
          <a:xfrm>
            <a:off x="2519784" y="3469113"/>
            <a:ext cx="4376887" cy="369332"/>
          </a:xfrm>
          <a:prstGeom prst="rect">
            <a:avLst/>
          </a:prstGeom>
        </p:spPr>
        <p:txBody>
          <a:bodyPr wrap="square">
            <a:spAutoFit/>
          </a:bodyPr>
          <a:lstStyle/>
          <a:p>
            <a:r>
              <a:rPr lang="en-US" sz="1800" dirty="0">
                <a:latin typeface="Lato" charset="0"/>
                <a:ea typeface="Lato" charset="0"/>
                <a:cs typeface="Lato" charset="0"/>
              </a:rPr>
              <a:t>Alignment with Nasdaq</a:t>
            </a:r>
          </a:p>
        </p:txBody>
      </p:sp>
      <p:sp>
        <p:nvSpPr>
          <p:cNvPr id="246" name="Rectangle 245">
            <a:extLst>
              <a:ext uri="{FF2B5EF4-FFF2-40B4-BE49-F238E27FC236}">
                <a16:creationId xmlns:a16="http://schemas.microsoft.com/office/drawing/2014/main" id="{8FD06606-F323-EF4E-8F15-27402D9125EB}"/>
              </a:ext>
            </a:extLst>
          </p:cNvPr>
          <p:cNvSpPr/>
          <p:nvPr/>
        </p:nvSpPr>
        <p:spPr>
          <a:xfrm>
            <a:off x="7671715" y="3677052"/>
            <a:ext cx="4445587" cy="646331"/>
          </a:xfrm>
          <a:prstGeom prst="rect">
            <a:avLst/>
          </a:prstGeom>
        </p:spPr>
        <p:txBody>
          <a:bodyPr wrap="square">
            <a:spAutoFit/>
          </a:bodyPr>
          <a:lstStyle/>
          <a:p>
            <a:r>
              <a:rPr lang="en-US" sz="900" dirty="0">
                <a:solidFill>
                  <a:schemeClr val="tx1"/>
                </a:solidFill>
                <a:latin typeface="Lato" charset="0"/>
                <a:ea typeface="Lato" charset="0"/>
                <a:cs typeface="Lato" charset="0"/>
                <a:sym typeface="Proxima Nova"/>
              </a:rPr>
              <a:t>Strong relationship with Nasdaq and understanding of existing business need and priorities for JUnit Testing for Index Solution, Project Prime and other ongoing projects</a:t>
            </a:r>
          </a:p>
          <a:p>
            <a:endParaRPr lang="en-US" sz="900" dirty="0">
              <a:solidFill>
                <a:schemeClr val="tx1"/>
              </a:solidFill>
              <a:latin typeface="Lato" charset="0"/>
              <a:ea typeface="Lato" charset="0"/>
              <a:cs typeface="Lato" charset="0"/>
              <a:sym typeface="Proxima Nova"/>
            </a:endParaRPr>
          </a:p>
        </p:txBody>
      </p:sp>
      <p:sp>
        <p:nvSpPr>
          <p:cNvPr id="247" name="Rectangle 246">
            <a:extLst>
              <a:ext uri="{FF2B5EF4-FFF2-40B4-BE49-F238E27FC236}">
                <a16:creationId xmlns:a16="http://schemas.microsoft.com/office/drawing/2014/main" id="{2E334ED2-48B4-0A4D-AEEA-A8EDBAA930EB}"/>
              </a:ext>
            </a:extLst>
          </p:cNvPr>
          <p:cNvSpPr/>
          <p:nvPr/>
        </p:nvSpPr>
        <p:spPr>
          <a:xfrm>
            <a:off x="2306670" y="4004386"/>
            <a:ext cx="4376887" cy="369332"/>
          </a:xfrm>
          <a:prstGeom prst="rect">
            <a:avLst/>
          </a:prstGeom>
        </p:spPr>
        <p:txBody>
          <a:bodyPr wrap="square">
            <a:spAutoFit/>
          </a:bodyPr>
          <a:lstStyle/>
          <a:p>
            <a:r>
              <a:rPr lang="en-US" dirty="0">
                <a:latin typeface="Lato" charset="0"/>
                <a:ea typeface="Lato" charset="0"/>
                <a:cs typeface="Lato" charset="0"/>
              </a:rPr>
              <a:t>Test </a:t>
            </a:r>
            <a:r>
              <a:rPr lang="en-US" sz="1800" dirty="0">
                <a:latin typeface="Lato" charset="0"/>
                <a:ea typeface="Lato" charset="0"/>
                <a:cs typeface="Lato" charset="0"/>
              </a:rPr>
              <a:t>Accelerators</a:t>
            </a:r>
          </a:p>
        </p:txBody>
      </p:sp>
      <p:sp>
        <p:nvSpPr>
          <p:cNvPr id="248" name="Rectangle 247">
            <a:extLst>
              <a:ext uri="{FF2B5EF4-FFF2-40B4-BE49-F238E27FC236}">
                <a16:creationId xmlns:a16="http://schemas.microsoft.com/office/drawing/2014/main" id="{2CD21329-51AB-0047-8335-07D4C203FBFA}"/>
              </a:ext>
            </a:extLst>
          </p:cNvPr>
          <p:cNvSpPr/>
          <p:nvPr/>
        </p:nvSpPr>
        <p:spPr>
          <a:xfrm>
            <a:off x="7071471" y="4192448"/>
            <a:ext cx="5045831" cy="369332"/>
          </a:xfrm>
          <a:prstGeom prst="rect">
            <a:avLst/>
          </a:prstGeom>
        </p:spPr>
        <p:txBody>
          <a:bodyPr wrap="square">
            <a:spAutoFit/>
          </a:bodyPr>
          <a:lstStyle/>
          <a:p>
            <a:r>
              <a:rPr lang="en-US" sz="900" dirty="0">
                <a:solidFill>
                  <a:schemeClr val="tx1"/>
                </a:solidFill>
                <a:latin typeface="Lato" charset="0"/>
                <a:ea typeface="Lato" charset="0"/>
                <a:cs typeface="Lato" charset="0"/>
                <a:sym typeface="Proxima Nova"/>
              </a:rPr>
              <a:t>Test Automation framework and Repository of test artefacts and accelerators which can be leveraged to jump-start the Testing activities</a:t>
            </a:r>
          </a:p>
        </p:txBody>
      </p:sp>
      <p:sp>
        <p:nvSpPr>
          <p:cNvPr id="249" name="Rectangle 248">
            <a:extLst>
              <a:ext uri="{FF2B5EF4-FFF2-40B4-BE49-F238E27FC236}">
                <a16:creationId xmlns:a16="http://schemas.microsoft.com/office/drawing/2014/main" id="{EB2E69F4-595C-F245-85FA-42ED30A85836}"/>
              </a:ext>
            </a:extLst>
          </p:cNvPr>
          <p:cNvSpPr/>
          <p:nvPr/>
        </p:nvSpPr>
        <p:spPr>
          <a:xfrm>
            <a:off x="2140683" y="4564768"/>
            <a:ext cx="4376887" cy="369332"/>
          </a:xfrm>
          <a:prstGeom prst="rect">
            <a:avLst/>
          </a:prstGeom>
        </p:spPr>
        <p:txBody>
          <a:bodyPr wrap="square">
            <a:spAutoFit/>
          </a:bodyPr>
          <a:lstStyle/>
          <a:p>
            <a:r>
              <a:rPr lang="en-US" sz="1800" dirty="0">
                <a:latin typeface="Lato" charset="0"/>
                <a:ea typeface="Lato" charset="0"/>
                <a:cs typeface="Lato" charset="0"/>
              </a:rPr>
              <a:t>Engineering Capability</a:t>
            </a:r>
          </a:p>
        </p:txBody>
      </p:sp>
      <p:sp>
        <p:nvSpPr>
          <p:cNvPr id="250" name="Rectangle 249">
            <a:extLst>
              <a:ext uri="{FF2B5EF4-FFF2-40B4-BE49-F238E27FC236}">
                <a16:creationId xmlns:a16="http://schemas.microsoft.com/office/drawing/2014/main" id="{5F72BE3E-1FE1-4E49-948B-8FB68CF2AD17}"/>
              </a:ext>
            </a:extLst>
          </p:cNvPr>
          <p:cNvSpPr/>
          <p:nvPr/>
        </p:nvSpPr>
        <p:spPr>
          <a:xfrm>
            <a:off x="1992975" y="5177397"/>
            <a:ext cx="4376887" cy="369332"/>
          </a:xfrm>
          <a:prstGeom prst="rect">
            <a:avLst/>
          </a:prstGeom>
        </p:spPr>
        <p:txBody>
          <a:bodyPr wrap="square">
            <a:spAutoFit/>
          </a:bodyPr>
          <a:lstStyle/>
          <a:p>
            <a:r>
              <a:rPr lang="en-US" sz="1800" dirty="0">
                <a:latin typeface="Lato" charset="0"/>
                <a:ea typeface="Lato" charset="0"/>
                <a:cs typeface="Lato" charset="0"/>
              </a:rPr>
              <a:t>Agile and Delivery Excellence</a:t>
            </a:r>
          </a:p>
        </p:txBody>
      </p:sp>
      <p:grpSp>
        <p:nvGrpSpPr>
          <p:cNvPr id="251" name="Group 250">
            <a:extLst>
              <a:ext uri="{FF2B5EF4-FFF2-40B4-BE49-F238E27FC236}">
                <a16:creationId xmlns:a16="http://schemas.microsoft.com/office/drawing/2014/main" id="{B4720E83-793D-024F-860E-CA8C7FF19EBE}"/>
              </a:ext>
            </a:extLst>
          </p:cNvPr>
          <p:cNvGrpSpPr/>
          <p:nvPr/>
        </p:nvGrpSpPr>
        <p:grpSpPr>
          <a:xfrm rot="607256">
            <a:off x="6101726" y="985022"/>
            <a:ext cx="3503502" cy="1848605"/>
            <a:chOff x="3600048" y="1675079"/>
            <a:chExt cx="7753752" cy="4091228"/>
          </a:xfrm>
        </p:grpSpPr>
        <p:sp>
          <p:nvSpPr>
            <p:cNvPr id="252" name="Freeform 7">
              <a:extLst>
                <a:ext uri="{FF2B5EF4-FFF2-40B4-BE49-F238E27FC236}">
                  <a16:creationId xmlns:a16="http://schemas.microsoft.com/office/drawing/2014/main" id="{6044BE46-3303-5741-B313-66EC6476A091}"/>
                </a:ext>
              </a:extLst>
            </p:cNvPr>
            <p:cNvSpPr>
              <a:spLocks/>
            </p:cNvSpPr>
            <p:nvPr/>
          </p:nvSpPr>
          <p:spPr bwMode="auto">
            <a:xfrm>
              <a:off x="3600048" y="2922919"/>
              <a:ext cx="6920251" cy="2843388"/>
            </a:xfrm>
            <a:custGeom>
              <a:avLst/>
              <a:gdLst>
                <a:gd name="T0" fmla="*/ 0 w 1296"/>
                <a:gd name="T1" fmla="*/ 421 h 439"/>
                <a:gd name="T2" fmla="*/ 61 w 1296"/>
                <a:gd name="T3" fmla="*/ 427 h 439"/>
                <a:gd name="T4" fmla="*/ 221 w 1296"/>
                <a:gd name="T5" fmla="*/ 433 h 439"/>
                <a:gd name="T6" fmla="*/ 447 w 1296"/>
                <a:gd name="T7" fmla="*/ 422 h 439"/>
                <a:gd name="T8" fmla="*/ 573 w 1296"/>
                <a:gd name="T9" fmla="*/ 404 h 439"/>
                <a:gd name="T10" fmla="*/ 702 w 1296"/>
                <a:gd name="T11" fmla="*/ 377 h 439"/>
                <a:gd name="T12" fmla="*/ 828 w 1296"/>
                <a:gd name="T13" fmla="*/ 338 h 439"/>
                <a:gd name="T14" fmla="*/ 944 w 1296"/>
                <a:gd name="T15" fmla="*/ 288 h 439"/>
                <a:gd name="T16" fmla="*/ 1047 w 1296"/>
                <a:gd name="T17" fmla="*/ 229 h 439"/>
                <a:gd name="T18" fmla="*/ 1131 w 1296"/>
                <a:gd name="T19" fmla="*/ 165 h 439"/>
                <a:gd name="T20" fmla="*/ 1195 w 1296"/>
                <a:gd name="T21" fmla="*/ 102 h 439"/>
                <a:gd name="T22" fmla="*/ 1219 w 1296"/>
                <a:gd name="T23" fmla="*/ 74 h 439"/>
                <a:gd name="T24" fmla="*/ 1239 w 1296"/>
                <a:gd name="T25" fmla="*/ 50 h 439"/>
                <a:gd name="T26" fmla="*/ 1253 w 1296"/>
                <a:gd name="T27" fmla="*/ 29 h 439"/>
                <a:gd name="T28" fmla="*/ 1264 w 1296"/>
                <a:gd name="T29" fmla="*/ 13 h 439"/>
                <a:gd name="T30" fmla="*/ 1272 w 1296"/>
                <a:gd name="T31" fmla="*/ 0 h 439"/>
                <a:gd name="T32" fmla="*/ 1296 w 1296"/>
                <a:gd name="T33" fmla="*/ 16 h 439"/>
                <a:gd name="T34" fmla="*/ 1287 w 1296"/>
                <a:gd name="T35" fmla="*/ 29 h 439"/>
                <a:gd name="T36" fmla="*/ 1276 w 1296"/>
                <a:gd name="T37" fmla="*/ 45 h 439"/>
                <a:gd name="T38" fmla="*/ 1260 w 1296"/>
                <a:gd name="T39" fmla="*/ 66 h 439"/>
                <a:gd name="T40" fmla="*/ 1239 w 1296"/>
                <a:gd name="T41" fmla="*/ 91 h 439"/>
                <a:gd name="T42" fmla="*/ 1213 w 1296"/>
                <a:gd name="T43" fmla="*/ 120 h 439"/>
                <a:gd name="T44" fmla="*/ 1146 w 1296"/>
                <a:gd name="T45" fmla="*/ 183 h 439"/>
                <a:gd name="T46" fmla="*/ 1058 w 1296"/>
                <a:gd name="T47" fmla="*/ 247 h 439"/>
                <a:gd name="T48" fmla="*/ 953 w 1296"/>
                <a:gd name="T49" fmla="*/ 305 h 439"/>
                <a:gd name="T50" fmla="*/ 833 w 1296"/>
                <a:gd name="T51" fmla="*/ 354 h 439"/>
                <a:gd name="T52" fmla="*/ 706 w 1296"/>
                <a:gd name="T53" fmla="*/ 390 h 439"/>
                <a:gd name="T54" fmla="*/ 575 w 1296"/>
                <a:gd name="T55" fmla="*/ 415 h 439"/>
                <a:gd name="T56" fmla="*/ 448 w 1296"/>
                <a:gd name="T57" fmla="*/ 430 h 439"/>
                <a:gd name="T58" fmla="*/ 221 w 1296"/>
                <a:gd name="T59" fmla="*/ 437 h 439"/>
                <a:gd name="T60" fmla="*/ 60 w 1296"/>
                <a:gd name="T61" fmla="*/ 428 h 439"/>
                <a:gd name="T62" fmla="*/ 0 w 1296"/>
                <a:gd name="T63" fmla="*/ 421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96" h="439">
                  <a:moveTo>
                    <a:pt x="0" y="421"/>
                  </a:moveTo>
                  <a:cubicBezTo>
                    <a:pt x="0" y="421"/>
                    <a:pt x="22" y="424"/>
                    <a:pt x="61" y="427"/>
                  </a:cubicBezTo>
                  <a:cubicBezTo>
                    <a:pt x="99" y="430"/>
                    <a:pt x="154" y="433"/>
                    <a:pt x="221" y="433"/>
                  </a:cubicBezTo>
                  <a:cubicBezTo>
                    <a:pt x="287" y="433"/>
                    <a:pt x="365" y="430"/>
                    <a:pt x="447" y="422"/>
                  </a:cubicBezTo>
                  <a:cubicBezTo>
                    <a:pt x="488" y="417"/>
                    <a:pt x="531" y="412"/>
                    <a:pt x="573" y="404"/>
                  </a:cubicBezTo>
                  <a:cubicBezTo>
                    <a:pt x="616" y="397"/>
                    <a:pt x="660" y="388"/>
                    <a:pt x="702" y="377"/>
                  </a:cubicBezTo>
                  <a:cubicBezTo>
                    <a:pt x="745" y="366"/>
                    <a:pt x="787" y="353"/>
                    <a:pt x="828" y="338"/>
                  </a:cubicBezTo>
                  <a:cubicBezTo>
                    <a:pt x="868" y="323"/>
                    <a:pt x="907" y="306"/>
                    <a:pt x="944" y="288"/>
                  </a:cubicBezTo>
                  <a:cubicBezTo>
                    <a:pt x="981" y="269"/>
                    <a:pt x="1015" y="249"/>
                    <a:pt x="1047" y="229"/>
                  </a:cubicBezTo>
                  <a:cubicBezTo>
                    <a:pt x="1078" y="208"/>
                    <a:pt x="1106" y="186"/>
                    <a:pt x="1131" y="165"/>
                  </a:cubicBezTo>
                  <a:cubicBezTo>
                    <a:pt x="1156" y="143"/>
                    <a:pt x="1177" y="122"/>
                    <a:pt x="1195" y="102"/>
                  </a:cubicBezTo>
                  <a:cubicBezTo>
                    <a:pt x="1204" y="93"/>
                    <a:pt x="1212" y="83"/>
                    <a:pt x="1219" y="74"/>
                  </a:cubicBezTo>
                  <a:cubicBezTo>
                    <a:pt x="1226" y="65"/>
                    <a:pt x="1233" y="57"/>
                    <a:pt x="1239" y="50"/>
                  </a:cubicBezTo>
                  <a:cubicBezTo>
                    <a:pt x="1244" y="42"/>
                    <a:pt x="1249" y="35"/>
                    <a:pt x="1253" y="29"/>
                  </a:cubicBezTo>
                  <a:cubicBezTo>
                    <a:pt x="1258" y="23"/>
                    <a:pt x="1261" y="18"/>
                    <a:pt x="1264" y="13"/>
                  </a:cubicBezTo>
                  <a:cubicBezTo>
                    <a:pt x="1270" y="5"/>
                    <a:pt x="1272" y="0"/>
                    <a:pt x="1272" y="0"/>
                  </a:cubicBezTo>
                  <a:cubicBezTo>
                    <a:pt x="1296" y="16"/>
                    <a:pt x="1296" y="16"/>
                    <a:pt x="1296" y="16"/>
                  </a:cubicBezTo>
                  <a:cubicBezTo>
                    <a:pt x="1296" y="16"/>
                    <a:pt x="1293" y="20"/>
                    <a:pt x="1287" y="29"/>
                  </a:cubicBezTo>
                  <a:cubicBezTo>
                    <a:pt x="1284" y="33"/>
                    <a:pt x="1280" y="39"/>
                    <a:pt x="1276" y="45"/>
                  </a:cubicBezTo>
                  <a:cubicBezTo>
                    <a:pt x="1271" y="51"/>
                    <a:pt x="1266" y="58"/>
                    <a:pt x="1260" y="66"/>
                  </a:cubicBezTo>
                  <a:cubicBezTo>
                    <a:pt x="1254" y="73"/>
                    <a:pt x="1247" y="82"/>
                    <a:pt x="1239" y="91"/>
                  </a:cubicBezTo>
                  <a:cubicBezTo>
                    <a:pt x="1231" y="100"/>
                    <a:pt x="1223" y="110"/>
                    <a:pt x="1213" y="120"/>
                  </a:cubicBezTo>
                  <a:cubicBezTo>
                    <a:pt x="1195" y="140"/>
                    <a:pt x="1172" y="161"/>
                    <a:pt x="1146" y="183"/>
                  </a:cubicBezTo>
                  <a:cubicBezTo>
                    <a:pt x="1120" y="204"/>
                    <a:pt x="1091" y="226"/>
                    <a:pt x="1058" y="247"/>
                  </a:cubicBezTo>
                  <a:cubicBezTo>
                    <a:pt x="1026" y="267"/>
                    <a:pt x="990" y="287"/>
                    <a:pt x="953" y="305"/>
                  </a:cubicBezTo>
                  <a:cubicBezTo>
                    <a:pt x="915" y="323"/>
                    <a:pt x="875" y="339"/>
                    <a:pt x="833" y="354"/>
                  </a:cubicBezTo>
                  <a:cubicBezTo>
                    <a:pt x="792" y="368"/>
                    <a:pt x="749" y="380"/>
                    <a:pt x="706" y="390"/>
                  </a:cubicBezTo>
                  <a:cubicBezTo>
                    <a:pt x="662" y="401"/>
                    <a:pt x="619" y="409"/>
                    <a:pt x="575" y="415"/>
                  </a:cubicBezTo>
                  <a:cubicBezTo>
                    <a:pt x="532" y="422"/>
                    <a:pt x="489" y="427"/>
                    <a:pt x="448" y="430"/>
                  </a:cubicBezTo>
                  <a:cubicBezTo>
                    <a:pt x="365" y="437"/>
                    <a:pt x="287" y="439"/>
                    <a:pt x="221" y="437"/>
                  </a:cubicBezTo>
                  <a:cubicBezTo>
                    <a:pt x="154" y="436"/>
                    <a:pt x="99" y="432"/>
                    <a:pt x="60" y="428"/>
                  </a:cubicBezTo>
                  <a:cubicBezTo>
                    <a:pt x="22" y="424"/>
                    <a:pt x="0" y="421"/>
                    <a:pt x="0" y="421"/>
                  </a:cubicBezTo>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3" name="Freeform 8">
              <a:extLst>
                <a:ext uri="{FF2B5EF4-FFF2-40B4-BE49-F238E27FC236}">
                  <a16:creationId xmlns:a16="http://schemas.microsoft.com/office/drawing/2014/main" id="{A9280500-09C3-9F4B-A4BD-15CFE7787A0B}"/>
                </a:ext>
              </a:extLst>
            </p:cNvPr>
            <p:cNvSpPr>
              <a:spLocks/>
            </p:cNvSpPr>
            <p:nvPr/>
          </p:nvSpPr>
          <p:spPr bwMode="auto">
            <a:xfrm>
              <a:off x="10046935" y="3047561"/>
              <a:ext cx="374562" cy="311679"/>
            </a:xfrm>
            <a:custGeom>
              <a:avLst/>
              <a:gdLst>
                <a:gd name="T0" fmla="*/ 119 w 137"/>
                <a:gd name="T1" fmla="*/ 114 h 114"/>
                <a:gd name="T2" fmla="*/ 0 w 137"/>
                <a:gd name="T3" fmla="*/ 26 h 114"/>
                <a:gd name="T4" fmla="*/ 19 w 137"/>
                <a:gd name="T5" fmla="*/ 0 h 114"/>
                <a:gd name="T6" fmla="*/ 137 w 137"/>
                <a:gd name="T7" fmla="*/ 85 h 114"/>
                <a:gd name="T8" fmla="*/ 119 w 137"/>
                <a:gd name="T9" fmla="*/ 114 h 114"/>
              </a:gdLst>
              <a:ahLst/>
              <a:cxnLst>
                <a:cxn ang="0">
                  <a:pos x="T0" y="T1"/>
                </a:cxn>
                <a:cxn ang="0">
                  <a:pos x="T2" y="T3"/>
                </a:cxn>
                <a:cxn ang="0">
                  <a:pos x="T4" y="T5"/>
                </a:cxn>
                <a:cxn ang="0">
                  <a:pos x="T6" y="T7"/>
                </a:cxn>
                <a:cxn ang="0">
                  <a:pos x="T8" y="T9"/>
                </a:cxn>
              </a:cxnLst>
              <a:rect l="0" t="0" r="r" b="b"/>
              <a:pathLst>
                <a:path w="137" h="114">
                  <a:moveTo>
                    <a:pt x="119" y="114"/>
                  </a:moveTo>
                  <a:lnTo>
                    <a:pt x="0" y="26"/>
                  </a:lnTo>
                  <a:lnTo>
                    <a:pt x="19" y="0"/>
                  </a:lnTo>
                  <a:lnTo>
                    <a:pt x="137" y="85"/>
                  </a:lnTo>
                  <a:lnTo>
                    <a:pt x="119" y="114"/>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4" name="Freeform 9">
              <a:extLst>
                <a:ext uri="{FF2B5EF4-FFF2-40B4-BE49-F238E27FC236}">
                  <a16:creationId xmlns:a16="http://schemas.microsoft.com/office/drawing/2014/main" id="{AEFFC153-58AE-1C40-97E4-DFBED1AC9AF5}"/>
                </a:ext>
              </a:extLst>
            </p:cNvPr>
            <p:cNvSpPr>
              <a:spLocks/>
            </p:cNvSpPr>
            <p:nvPr/>
          </p:nvSpPr>
          <p:spPr bwMode="auto">
            <a:xfrm>
              <a:off x="10046935" y="3047561"/>
              <a:ext cx="374562" cy="311679"/>
            </a:xfrm>
            <a:custGeom>
              <a:avLst/>
              <a:gdLst>
                <a:gd name="T0" fmla="*/ 119 w 137"/>
                <a:gd name="T1" fmla="*/ 114 h 114"/>
                <a:gd name="T2" fmla="*/ 0 w 137"/>
                <a:gd name="T3" fmla="*/ 26 h 114"/>
                <a:gd name="T4" fmla="*/ 19 w 137"/>
                <a:gd name="T5" fmla="*/ 0 h 114"/>
                <a:gd name="T6" fmla="*/ 137 w 137"/>
                <a:gd name="T7" fmla="*/ 85 h 114"/>
                <a:gd name="T8" fmla="*/ 119 w 137"/>
                <a:gd name="T9" fmla="*/ 114 h 114"/>
              </a:gdLst>
              <a:ahLst/>
              <a:cxnLst>
                <a:cxn ang="0">
                  <a:pos x="T0" y="T1"/>
                </a:cxn>
                <a:cxn ang="0">
                  <a:pos x="T2" y="T3"/>
                </a:cxn>
                <a:cxn ang="0">
                  <a:pos x="T4" y="T5"/>
                </a:cxn>
                <a:cxn ang="0">
                  <a:pos x="T6" y="T7"/>
                </a:cxn>
                <a:cxn ang="0">
                  <a:pos x="T8" y="T9"/>
                </a:cxn>
              </a:cxnLst>
              <a:rect l="0" t="0" r="r" b="b"/>
              <a:pathLst>
                <a:path w="137" h="114">
                  <a:moveTo>
                    <a:pt x="119" y="114"/>
                  </a:moveTo>
                  <a:lnTo>
                    <a:pt x="0" y="26"/>
                  </a:lnTo>
                  <a:lnTo>
                    <a:pt x="19" y="0"/>
                  </a:lnTo>
                  <a:lnTo>
                    <a:pt x="137" y="85"/>
                  </a:lnTo>
                  <a:lnTo>
                    <a:pt x="119" y="1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5" name="Freeform 10">
              <a:extLst>
                <a:ext uri="{FF2B5EF4-FFF2-40B4-BE49-F238E27FC236}">
                  <a16:creationId xmlns:a16="http://schemas.microsoft.com/office/drawing/2014/main" id="{08A971A1-47BE-554A-BD2C-C1E03102C9D7}"/>
                </a:ext>
              </a:extLst>
            </p:cNvPr>
            <p:cNvSpPr>
              <a:spLocks/>
            </p:cNvSpPr>
            <p:nvPr/>
          </p:nvSpPr>
          <p:spPr bwMode="auto">
            <a:xfrm>
              <a:off x="9614958" y="2484351"/>
              <a:ext cx="612422" cy="661635"/>
            </a:xfrm>
            <a:custGeom>
              <a:avLst/>
              <a:gdLst>
                <a:gd name="T0" fmla="*/ 95 w 95"/>
                <a:gd name="T1" fmla="*/ 26 h 102"/>
                <a:gd name="T2" fmla="*/ 82 w 95"/>
                <a:gd name="T3" fmla="*/ 0 h 102"/>
                <a:gd name="T4" fmla="*/ 0 w 95"/>
                <a:gd name="T5" fmla="*/ 102 h 102"/>
                <a:gd name="T6" fmla="*/ 82 w 95"/>
                <a:gd name="T7" fmla="*/ 67 h 102"/>
                <a:gd name="T8" fmla="*/ 95 w 95"/>
                <a:gd name="T9" fmla="*/ 26 h 102"/>
              </a:gdLst>
              <a:ahLst/>
              <a:cxnLst>
                <a:cxn ang="0">
                  <a:pos x="T0" y="T1"/>
                </a:cxn>
                <a:cxn ang="0">
                  <a:pos x="T2" y="T3"/>
                </a:cxn>
                <a:cxn ang="0">
                  <a:pos x="T4" y="T5"/>
                </a:cxn>
                <a:cxn ang="0">
                  <a:pos x="T6" y="T7"/>
                </a:cxn>
                <a:cxn ang="0">
                  <a:pos x="T8" y="T9"/>
                </a:cxn>
              </a:cxnLst>
              <a:rect l="0" t="0" r="r" b="b"/>
              <a:pathLst>
                <a:path w="95" h="102">
                  <a:moveTo>
                    <a:pt x="95" y="26"/>
                  </a:moveTo>
                  <a:cubicBezTo>
                    <a:pt x="95" y="26"/>
                    <a:pt x="79" y="15"/>
                    <a:pt x="82" y="0"/>
                  </a:cubicBezTo>
                  <a:cubicBezTo>
                    <a:pt x="82" y="0"/>
                    <a:pt x="16" y="28"/>
                    <a:pt x="0" y="102"/>
                  </a:cubicBezTo>
                  <a:cubicBezTo>
                    <a:pt x="0" y="102"/>
                    <a:pt x="46" y="60"/>
                    <a:pt x="82" y="67"/>
                  </a:cubicBezTo>
                  <a:lnTo>
                    <a:pt x="95" y="26"/>
                  </a:lnTo>
                  <a:close/>
                </a:path>
              </a:pathLst>
            </a:custGeom>
            <a:solidFill>
              <a:srgbClr val="E99A0D">
                <a:alpha val="76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6" name="Freeform 11">
              <a:extLst>
                <a:ext uri="{FF2B5EF4-FFF2-40B4-BE49-F238E27FC236}">
                  <a16:creationId xmlns:a16="http://schemas.microsoft.com/office/drawing/2014/main" id="{3AE9653F-5D46-6749-99F5-E25EC0493B17}"/>
                </a:ext>
              </a:extLst>
            </p:cNvPr>
            <p:cNvSpPr>
              <a:spLocks/>
            </p:cNvSpPr>
            <p:nvPr/>
          </p:nvSpPr>
          <p:spPr bwMode="auto">
            <a:xfrm>
              <a:off x="10481645" y="3042093"/>
              <a:ext cx="464785" cy="738187"/>
            </a:xfrm>
            <a:custGeom>
              <a:avLst/>
              <a:gdLst>
                <a:gd name="T0" fmla="*/ 44 w 72"/>
                <a:gd name="T1" fmla="*/ 0 h 114"/>
                <a:gd name="T2" fmla="*/ 72 w 72"/>
                <a:gd name="T3" fmla="*/ 4 h 114"/>
                <a:gd name="T4" fmla="*/ 0 w 72"/>
                <a:gd name="T5" fmla="*/ 114 h 114"/>
                <a:gd name="T6" fmla="*/ 8 w 72"/>
                <a:gd name="T7" fmla="*/ 25 h 114"/>
                <a:gd name="T8" fmla="*/ 44 w 72"/>
                <a:gd name="T9" fmla="*/ 0 h 114"/>
              </a:gdLst>
              <a:ahLst/>
              <a:cxnLst>
                <a:cxn ang="0">
                  <a:pos x="T0" y="T1"/>
                </a:cxn>
                <a:cxn ang="0">
                  <a:pos x="T2" y="T3"/>
                </a:cxn>
                <a:cxn ang="0">
                  <a:pos x="T4" y="T5"/>
                </a:cxn>
                <a:cxn ang="0">
                  <a:pos x="T6" y="T7"/>
                </a:cxn>
                <a:cxn ang="0">
                  <a:pos x="T8" y="T9"/>
                </a:cxn>
              </a:cxnLst>
              <a:rect l="0" t="0" r="r" b="b"/>
              <a:pathLst>
                <a:path w="72" h="114">
                  <a:moveTo>
                    <a:pt x="44" y="0"/>
                  </a:moveTo>
                  <a:cubicBezTo>
                    <a:pt x="44" y="0"/>
                    <a:pt x="58" y="12"/>
                    <a:pt x="72" y="4"/>
                  </a:cubicBezTo>
                  <a:cubicBezTo>
                    <a:pt x="72" y="4"/>
                    <a:pt x="66" y="76"/>
                    <a:pt x="0" y="114"/>
                  </a:cubicBezTo>
                  <a:cubicBezTo>
                    <a:pt x="0" y="114"/>
                    <a:pt x="26" y="57"/>
                    <a:pt x="8" y="25"/>
                  </a:cubicBezTo>
                  <a:cubicBezTo>
                    <a:pt x="44" y="0"/>
                    <a:pt x="44" y="0"/>
                    <a:pt x="44" y="0"/>
                  </a:cubicBezTo>
                </a:path>
              </a:pathLst>
            </a:custGeom>
            <a:solidFill>
              <a:srgbClr val="B2760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7" name="Freeform 12">
              <a:extLst>
                <a:ext uri="{FF2B5EF4-FFF2-40B4-BE49-F238E27FC236}">
                  <a16:creationId xmlns:a16="http://schemas.microsoft.com/office/drawing/2014/main" id="{FFBA6B0D-6758-4C4F-9B1F-99E258865B85}"/>
                </a:ext>
              </a:extLst>
            </p:cNvPr>
            <p:cNvSpPr>
              <a:spLocks/>
            </p:cNvSpPr>
            <p:nvPr/>
          </p:nvSpPr>
          <p:spPr bwMode="auto">
            <a:xfrm>
              <a:off x="10098881" y="1675079"/>
              <a:ext cx="1254919" cy="1604874"/>
            </a:xfrm>
            <a:custGeom>
              <a:avLst/>
              <a:gdLst>
                <a:gd name="T0" fmla="*/ 50 w 194"/>
                <a:gd name="T1" fmla="*/ 248 h 248"/>
                <a:gd name="T2" fmla="*/ 140 w 194"/>
                <a:gd name="T3" fmla="*/ 167 h 248"/>
                <a:gd name="T4" fmla="*/ 193 w 194"/>
                <a:gd name="T5" fmla="*/ 0 h 248"/>
                <a:gd name="T6" fmla="*/ 50 w 194"/>
                <a:gd name="T7" fmla="*/ 101 h 248"/>
                <a:gd name="T8" fmla="*/ 0 w 194"/>
                <a:gd name="T9" fmla="*/ 212 h 248"/>
                <a:gd name="T10" fmla="*/ 50 w 194"/>
                <a:gd name="T11" fmla="*/ 248 h 248"/>
              </a:gdLst>
              <a:ahLst/>
              <a:cxnLst>
                <a:cxn ang="0">
                  <a:pos x="T0" y="T1"/>
                </a:cxn>
                <a:cxn ang="0">
                  <a:pos x="T2" y="T3"/>
                </a:cxn>
                <a:cxn ang="0">
                  <a:pos x="T4" y="T5"/>
                </a:cxn>
                <a:cxn ang="0">
                  <a:pos x="T6" y="T7"/>
                </a:cxn>
                <a:cxn ang="0">
                  <a:pos x="T8" y="T9"/>
                </a:cxn>
                <a:cxn ang="0">
                  <a:pos x="T10" y="T11"/>
                </a:cxn>
              </a:cxnLst>
              <a:rect l="0" t="0" r="r" b="b"/>
              <a:pathLst>
                <a:path w="194" h="248">
                  <a:moveTo>
                    <a:pt x="50" y="248"/>
                  </a:moveTo>
                  <a:cubicBezTo>
                    <a:pt x="80" y="233"/>
                    <a:pt x="106" y="213"/>
                    <a:pt x="140" y="167"/>
                  </a:cubicBezTo>
                  <a:cubicBezTo>
                    <a:pt x="194" y="92"/>
                    <a:pt x="193" y="0"/>
                    <a:pt x="193" y="0"/>
                  </a:cubicBezTo>
                  <a:cubicBezTo>
                    <a:pt x="193" y="0"/>
                    <a:pt x="105" y="27"/>
                    <a:pt x="50" y="101"/>
                  </a:cubicBezTo>
                  <a:cubicBezTo>
                    <a:pt x="17" y="148"/>
                    <a:pt x="6" y="179"/>
                    <a:pt x="0" y="212"/>
                  </a:cubicBezTo>
                  <a:cubicBezTo>
                    <a:pt x="50" y="248"/>
                    <a:pt x="50" y="248"/>
                    <a:pt x="50" y="248"/>
                  </a:cubicBezTo>
                </a:path>
              </a:pathLst>
            </a:custGeom>
            <a:solidFill>
              <a:srgbClr val="E99A0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8" name="Freeform 13">
              <a:extLst>
                <a:ext uri="{FF2B5EF4-FFF2-40B4-BE49-F238E27FC236}">
                  <a16:creationId xmlns:a16="http://schemas.microsoft.com/office/drawing/2014/main" id="{2887C18D-8656-5546-B279-A4049ADB7AE9}"/>
                </a:ext>
              </a:extLst>
            </p:cNvPr>
            <p:cNvSpPr>
              <a:spLocks/>
            </p:cNvSpPr>
            <p:nvPr/>
          </p:nvSpPr>
          <p:spPr bwMode="auto">
            <a:xfrm>
              <a:off x="10098881" y="2951870"/>
              <a:ext cx="415572" cy="328083"/>
            </a:xfrm>
            <a:custGeom>
              <a:avLst/>
              <a:gdLst>
                <a:gd name="T0" fmla="*/ 3 w 64"/>
                <a:gd name="T1" fmla="*/ 0 h 51"/>
                <a:gd name="T2" fmla="*/ 0 w 64"/>
                <a:gd name="T3" fmla="*/ 15 h 51"/>
                <a:gd name="T4" fmla="*/ 50 w 64"/>
                <a:gd name="T5" fmla="*/ 51 h 51"/>
                <a:gd name="T6" fmla="*/ 64 w 64"/>
                <a:gd name="T7" fmla="*/ 44 h 51"/>
                <a:gd name="T8" fmla="*/ 3 w 64"/>
                <a:gd name="T9" fmla="*/ 0 h 51"/>
              </a:gdLst>
              <a:ahLst/>
              <a:cxnLst>
                <a:cxn ang="0">
                  <a:pos x="T0" y="T1"/>
                </a:cxn>
                <a:cxn ang="0">
                  <a:pos x="T2" y="T3"/>
                </a:cxn>
                <a:cxn ang="0">
                  <a:pos x="T4" y="T5"/>
                </a:cxn>
                <a:cxn ang="0">
                  <a:pos x="T6" y="T7"/>
                </a:cxn>
                <a:cxn ang="0">
                  <a:pos x="T8" y="T9"/>
                </a:cxn>
              </a:cxnLst>
              <a:rect l="0" t="0" r="r" b="b"/>
              <a:pathLst>
                <a:path w="64" h="51">
                  <a:moveTo>
                    <a:pt x="3" y="0"/>
                  </a:moveTo>
                  <a:cubicBezTo>
                    <a:pt x="2" y="5"/>
                    <a:pt x="1" y="10"/>
                    <a:pt x="0" y="15"/>
                  </a:cubicBezTo>
                  <a:cubicBezTo>
                    <a:pt x="50" y="51"/>
                    <a:pt x="50" y="51"/>
                    <a:pt x="50" y="51"/>
                  </a:cubicBezTo>
                  <a:cubicBezTo>
                    <a:pt x="55" y="49"/>
                    <a:pt x="59" y="46"/>
                    <a:pt x="64" y="44"/>
                  </a:cubicBezTo>
                  <a:cubicBezTo>
                    <a:pt x="3" y="0"/>
                    <a:pt x="3" y="0"/>
                    <a:pt x="3" y="0"/>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9" name="Freeform 14">
              <a:extLst>
                <a:ext uri="{FF2B5EF4-FFF2-40B4-BE49-F238E27FC236}">
                  <a16:creationId xmlns:a16="http://schemas.microsoft.com/office/drawing/2014/main" id="{3BF9D4C9-8EED-6144-AAB4-94CB712BCFC7}"/>
                </a:ext>
              </a:extLst>
            </p:cNvPr>
            <p:cNvSpPr>
              <a:spLocks/>
            </p:cNvSpPr>
            <p:nvPr/>
          </p:nvSpPr>
          <p:spPr bwMode="auto">
            <a:xfrm>
              <a:off x="10894483" y="1675079"/>
              <a:ext cx="459317" cy="503061"/>
            </a:xfrm>
            <a:custGeom>
              <a:avLst/>
              <a:gdLst>
                <a:gd name="T0" fmla="*/ 59 w 71"/>
                <a:gd name="T1" fmla="*/ 78 h 78"/>
                <a:gd name="T2" fmla="*/ 70 w 71"/>
                <a:gd name="T3" fmla="*/ 0 h 78"/>
                <a:gd name="T4" fmla="*/ 0 w 71"/>
                <a:gd name="T5" fmla="*/ 34 h 78"/>
                <a:gd name="T6" fmla="*/ 59 w 71"/>
                <a:gd name="T7" fmla="*/ 78 h 78"/>
              </a:gdLst>
              <a:ahLst/>
              <a:cxnLst>
                <a:cxn ang="0">
                  <a:pos x="T0" y="T1"/>
                </a:cxn>
                <a:cxn ang="0">
                  <a:pos x="T2" y="T3"/>
                </a:cxn>
                <a:cxn ang="0">
                  <a:pos x="T4" y="T5"/>
                </a:cxn>
                <a:cxn ang="0">
                  <a:pos x="T6" y="T7"/>
                </a:cxn>
              </a:cxnLst>
              <a:rect l="0" t="0" r="r" b="b"/>
              <a:pathLst>
                <a:path w="71" h="78">
                  <a:moveTo>
                    <a:pt x="59" y="78"/>
                  </a:moveTo>
                  <a:cubicBezTo>
                    <a:pt x="71" y="34"/>
                    <a:pt x="70" y="0"/>
                    <a:pt x="70" y="0"/>
                  </a:cubicBezTo>
                  <a:cubicBezTo>
                    <a:pt x="70" y="0"/>
                    <a:pt x="37" y="10"/>
                    <a:pt x="0" y="34"/>
                  </a:cubicBezTo>
                  <a:cubicBezTo>
                    <a:pt x="59" y="78"/>
                    <a:pt x="59" y="78"/>
                    <a:pt x="59" y="78"/>
                  </a:cubicBezTo>
                </a:path>
              </a:pathLst>
            </a:custGeom>
            <a:solidFill>
              <a:srgbClr val="E99A0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0" name="Freeform 15">
              <a:extLst>
                <a:ext uri="{FF2B5EF4-FFF2-40B4-BE49-F238E27FC236}">
                  <a16:creationId xmlns:a16="http://schemas.microsoft.com/office/drawing/2014/main" id="{F199FAE5-CCE5-1F4D-9F8D-737FBDB5BE1A}"/>
                </a:ext>
              </a:extLst>
            </p:cNvPr>
            <p:cNvSpPr>
              <a:spLocks/>
            </p:cNvSpPr>
            <p:nvPr/>
          </p:nvSpPr>
          <p:spPr bwMode="auto">
            <a:xfrm>
              <a:off x="10046935" y="2763222"/>
              <a:ext cx="519465" cy="699911"/>
            </a:xfrm>
            <a:custGeom>
              <a:avLst/>
              <a:gdLst>
                <a:gd name="T0" fmla="*/ 33 w 80"/>
                <a:gd name="T1" fmla="*/ 52 h 108"/>
                <a:gd name="T2" fmla="*/ 0 w 80"/>
                <a:gd name="T3" fmla="*/ 108 h 108"/>
                <a:gd name="T4" fmla="*/ 43 w 80"/>
                <a:gd name="T5" fmla="*/ 59 h 108"/>
                <a:gd name="T6" fmla="*/ 77 w 80"/>
                <a:gd name="T7" fmla="*/ 2 h 108"/>
                <a:gd name="T8" fmla="*/ 33 w 80"/>
                <a:gd name="T9" fmla="*/ 52 h 108"/>
              </a:gdLst>
              <a:ahLst/>
              <a:cxnLst>
                <a:cxn ang="0">
                  <a:pos x="T0" y="T1"/>
                </a:cxn>
                <a:cxn ang="0">
                  <a:pos x="T2" y="T3"/>
                </a:cxn>
                <a:cxn ang="0">
                  <a:pos x="T4" y="T5"/>
                </a:cxn>
                <a:cxn ang="0">
                  <a:pos x="T6" y="T7"/>
                </a:cxn>
                <a:cxn ang="0">
                  <a:pos x="T8" y="T9"/>
                </a:cxn>
              </a:cxnLst>
              <a:rect l="0" t="0" r="r" b="b"/>
              <a:pathLst>
                <a:path w="80" h="108">
                  <a:moveTo>
                    <a:pt x="33" y="52"/>
                  </a:moveTo>
                  <a:cubicBezTo>
                    <a:pt x="12" y="81"/>
                    <a:pt x="0" y="108"/>
                    <a:pt x="0" y="108"/>
                  </a:cubicBezTo>
                  <a:cubicBezTo>
                    <a:pt x="0" y="108"/>
                    <a:pt x="22" y="88"/>
                    <a:pt x="43" y="59"/>
                  </a:cubicBezTo>
                  <a:cubicBezTo>
                    <a:pt x="65" y="30"/>
                    <a:pt x="80" y="4"/>
                    <a:pt x="77" y="2"/>
                  </a:cubicBezTo>
                  <a:cubicBezTo>
                    <a:pt x="74" y="0"/>
                    <a:pt x="55" y="22"/>
                    <a:pt x="33" y="52"/>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1" name="Freeform 16">
              <a:extLst>
                <a:ext uri="{FF2B5EF4-FFF2-40B4-BE49-F238E27FC236}">
                  <a16:creationId xmlns:a16="http://schemas.microsoft.com/office/drawing/2014/main" id="{A48953C0-B7EC-C74E-A748-0F53233E6D55}"/>
                </a:ext>
              </a:extLst>
            </p:cNvPr>
            <p:cNvSpPr>
              <a:spLocks/>
            </p:cNvSpPr>
            <p:nvPr/>
          </p:nvSpPr>
          <p:spPr bwMode="auto">
            <a:xfrm>
              <a:off x="10675761" y="2139864"/>
              <a:ext cx="388232" cy="382764"/>
            </a:xfrm>
            <a:custGeom>
              <a:avLst/>
              <a:gdLst>
                <a:gd name="T0" fmla="*/ 51 w 60"/>
                <a:gd name="T1" fmla="*/ 45 h 59"/>
                <a:gd name="T2" fmla="*/ 15 w 60"/>
                <a:gd name="T3" fmla="*/ 51 h 59"/>
                <a:gd name="T4" fmla="*/ 9 w 60"/>
                <a:gd name="T5" fmla="*/ 14 h 59"/>
                <a:gd name="T6" fmla="*/ 45 w 60"/>
                <a:gd name="T7" fmla="*/ 8 h 59"/>
                <a:gd name="T8" fmla="*/ 51 w 60"/>
                <a:gd name="T9" fmla="*/ 45 h 59"/>
              </a:gdLst>
              <a:ahLst/>
              <a:cxnLst>
                <a:cxn ang="0">
                  <a:pos x="T0" y="T1"/>
                </a:cxn>
                <a:cxn ang="0">
                  <a:pos x="T2" y="T3"/>
                </a:cxn>
                <a:cxn ang="0">
                  <a:pos x="T4" y="T5"/>
                </a:cxn>
                <a:cxn ang="0">
                  <a:pos x="T6" y="T7"/>
                </a:cxn>
                <a:cxn ang="0">
                  <a:pos x="T8" y="T9"/>
                </a:cxn>
              </a:cxnLst>
              <a:rect l="0" t="0" r="r" b="b"/>
              <a:pathLst>
                <a:path w="60" h="59">
                  <a:moveTo>
                    <a:pt x="51" y="45"/>
                  </a:moveTo>
                  <a:cubicBezTo>
                    <a:pt x="43" y="57"/>
                    <a:pt x="26" y="59"/>
                    <a:pt x="15" y="51"/>
                  </a:cubicBezTo>
                  <a:cubicBezTo>
                    <a:pt x="3" y="42"/>
                    <a:pt x="0" y="26"/>
                    <a:pt x="9" y="14"/>
                  </a:cubicBezTo>
                  <a:cubicBezTo>
                    <a:pt x="17" y="2"/>
                    <a:pt x="34" y="0"/>
                    <a:pt x="45" y="8"/>
                  </a:cubicBezTo>
                  <a:cubicBezTo>
                    <a:pt x="57" y="17"/>
                    <a:pt x="60" y="33"/>
                    <a:pt x="51" y="45"/>
                  </a:cubicBezTo>
                </a:path>
              </a:pathLst>
            </a:cu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2" name="Freeform 17">
              <a:extLst>
                <a:ext uri="{FF2B5EF4-FFF2-40B4-BE49-F238E27FC236}">
                  <a16:creationId xmlns:a16="http://schemas.microsoft.com/office/drawing/2014/main" id="{A25A229D-0F2C-844C-9E9E-0FB5CB11C85E}"/>
                </a:ext>
              </a:extLst>
            </p:cNvPr>
            <p:cNvSpPr>
              <a:spLocks/>
            </p:cNvSpPr>
            <p:nvPr/>
          </p:nvSpPr>
          <p:spPr bwMode="auto">
            <a:xfrm>
              <a:off x="10727708" y="2191810"/>
              <a:ext cx="284339" cy="278871"/>
            </a:xfrm>
            <a:custGeom>
              <a:avLst/>
              <a:gdLst>
                <a:gd name="T0" fmla="*/ 38 w 44"/>
                <a:gd name="T1" fmla="*/ 33 h 43"/>
                <a:gd name="T2" fmla="*/ 11 w 44"/>
                <a:gd name="T3" fmla="*/ 37 h 43"/>
                <a:gd name="T4" fmla="*/ 6 w 44"/>
                <a:gd name="T5" fmla="*/ 10 h 43"/>
                <a:gd name="T6" fmla="*/ 33 w 44"/>
                <a:gd name="T7" fmla="*/ 6 h 43"/>
                <a:gd name="T8" fmla="*/ 38 w 44"/>
                <a:gd name="T9" fmla="*/ 33 h 43"/>
              </a:gdLst>
              <a:ahLst/>
              <a:cxnLst>
                <a:cxn ang="0">
                  <a:pos x="T0" y="T1"/>
                </a:cxn>
                <a:cxn ang="0">
                  <a:pos x="T2" y="T3"/>
                </a:cxn>
                <a:cxn ang="0">
                  <a:pos x="T4" y="T5"/>
                </a:cxn>
                <a:cxn ang="0">
                  <a:pos x="T6" y="T7"/>
                </a:cxn>
                <a:cxn ang="0">
                  <a:pos x="T8" y="T9"/>
                </a:cxn>
              </a:cxnLst>
              <a:rect l="0" t="0" r="r" b="b"/>
              <a:pathLst>
                <a:path w="44" h="43">
                  <a:moveTo>
                    <a:pt x="38" y="33"/>
                  </a:moveTo>
                  <a:cubicBezTo>
                    <a:pt x="31" y="41"/>
                    <a:pt x="19" y="43"/>
                    <a:pt x="11" y="37"/>
                  </a:cubicBezTo>
                  <a:cubicBezTo>
                    <a:pt x="2" y="31"/>
                    <a:pt x="0" y="19"/>
                    <a:pt x="6" y="10"/>
                  </a:cubicBezTo>
                  <a:cubicBezTo>
                    <a:pt x="13" y="2"/>
                    <a:pt x="25" y="0"/>
                    <a:pt x="33" y="6"/>
                  </a:cubicBezTo>
                  <a:cubicBezTo>
                    <a:pt x="42" y="12"/>
                    <a:pt x="44" y="24"/>
                    <a:pt x="38" y="33"/>
                  </a:cubicBezTo>
                </a:path>
              </a:pathLst>
            </a:custGeom>
            <a:solidFill>
              <a:schemeClr val="accent3">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3" name="Freeform 18">
              <a:extLst>
                <a:ext uri="{FF2B5EF4-FFF2-40B4-BE49-F238E27FC236}">
                  <a16:creationId xmlns:a16="http://schemas.microsoft.com/office/drawing/2014/main" id="{9652C8DE-DD51-7149-8CC2-D2219FE519EE}"/>
                </a:ext>
              </a:extLst>
            </p:cNvPr>
            <p:cNvSpPr>
              <a:spLocks/>
            </p:cNvSpPr>
            <p:nvPr/>
          </p:nvSpPr>
          <p:spPr bwMode="auto">
            <a:xfrm>
              <a:off x="10325806" y="3208868"/>
              <a:ext cx="95691" cy="71085"/>
            </a:xfrm>
            <a:custGeom>
              <a:avLst/>
              <a:gdLst>
                <a:gd name="T0" fmla="*/ 0 w 35"/>
                <a:gd name="T1" fmla="*/ 0 h 26"/>
                <a:gd name="T2" fmla="*/ 0 w 35"/>
                <a:gd name="T3" fmla="*/ 0 h 26"/>
                <a:gd name="T4" fmla="*/ 35 w 35"/>
                <a:gd name="T5" fmla="*/ 26 h 26"/>
                <a:gd name="T6" fmla="*/ 33 w 35"/>
                <a:gd name="T7" fmla="*/ 26 h 26"/>
                <a:gd name="T8" fmla="*/ 0 w 35"/>
                <a:gd name="T9" fmla="*/ 0 h 26"/>
              </a:gdLst>
              <a:ahLst/>
              <a:cxnLst>
                <a:cxn ang="0">
                  <a:pos x="T0" y="T1"/>
                </a:cxn>
                <a:cxn ang="0">
                  <a:pos x="T2" y="T3"/>
                </a:cxn>
                <a:cxn ang="0">
                  <a:pos x="T4" y="T5"/>
                </a:cxn>
                <a:cxn ang="0">
                  <a:pos x="T6" y="T7"/>
                </a:cxn>
                <a:cxn ang="0">
                  <a:pos x="T8" y="T9"/>
                </a:cxn>
              </a:cxnLst>
              <a:rect l="0" t="0" r="r" b="b"/>
              <a:pathLst>
                <a:path w="35" h="26">
                  <a:moveTo>
                    <a:pt x="0" y="0"/>
                  </a:moveTo>
                  <a:lnTo>
                    <a:pt x="0" y="0"/>
                  </a:lnTo>
                  <a:lnTo>
                    <a:pt x="35" y="26"/>
                  </a:lnTo>
                  <a:lnTo>
                    <a:pt x="33" y="26"/>
                  </a:lnTo>
                  <a:lnTo>
                    <a:pt x="0"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4" name="Freeform 19">
              <a:extLst>
                <a:ext uri="{FF2B5EF4-FFF2-40B4-BE49-F238E27FC236}">
                  <a16:creationId xmlns:a16="http://schemas.microsoft.com/office/drawing/2014/main" id="{D1BC0F51-2C39-CE49-8405-C3F96F74BFFE}"/>
                </a:ext>
              </a:extLst>
            </p:cNvPr>
            <p:cNvSpPr>
              <a:spLocks/>
            </p:cNvSpPr>
            <p:nvPr/>
          </p:nvSpPr>
          <p:spPr bwMode="auto">
            <a:xfrm>
              <a:off x="10325806" y="3208868"/>
              <a:ext cx="95691" cy="71085"/>
            </a:xfrm>
            <a:custGeom>
              <a:avLst/>
              <a:gdLst>
                <a:gd name="T0" fmla="*/ 0 w 35"/>
                <a:gd name="T1" fmla="*/ 0 h 26"/>
                <a:gd name="T2" fmla="*/ 0 w 35"/>
                <a:gd name="T3" fmla="*/ 0 h 26"/>
                <a:gd name="T4" fmla="*/ 35 w 35"/>
                <a:gd name="T5" fmla="*/ 26 h 26"/>
                <a:gd name="T6" fmla="*/ 33 w 35"/>
                <a:gd name="T7" fmla="*/ 26 h 26"/>
                <a:gd name="T8" fmla="*/ 0 w 35"/>
                <a:gd name="T9" fmla="*/ 0 h 26"/>
              </a:gdLst>
              <a:ahLst/>
              <a:cxnLst>
                <a:cxn ang="0">
                  <a:pos x="T0" y="T1"/>
                </a:cxn>
                <a:cxn ang="0">
                  <a:pos x="T2" y="T3"/>
                </a:cxn>
                <a:cxn ang="0">
                  <a:pos x="T4" y="T5"/>
                </a:cxn>
                <a:cxn ang="0">
                  <a:pos x="T6" y="T7"/>
                </a:cxn>
                <a:cxn ang="0">
                  <a:pos x="T8" y="T9"/>
                </a:cxn>
              </a:cxnLst>
              <a:rect l="0" t="0" r="r" b="b"/>
              <a:pathLst>
                <a:path w="35" h="26">
                  <a:moveTo>
                    <a:pt x="0" y="0"/>
                  </a:moveTo>
                  <a:lnTo>
                    <a:pt x="0" y="0"/>
                  </a:lnTo>
                  <a:lnTo>
                    <a:pt x="35" y="26"/>
                  </a:lnTo>
                  <a:lnTo>
                    <a:pt x="33" y="2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5" name="Freeform 20">
              <a:extLst>
                <a:ext uri="{FF2B5EF4-FFF2-40B4-BE49-F238E27FC236}">
                  <a16:creationId xmlns:a16="http://schemas.microsoft.com/office/drawing/2014/main" id="{3E994464-42AE-C44D-877E-AB15C7D172B5}"/>
                </a:ext>
              </a:extLst>
            </p:cNvPr>
            <p:cNvSpPr>
              <a:spLocks/>
            </p:cNvSpPr>
            <p:nvPr/>
          </p:nvSpPr>
          <p:spPr bwMode="auto">
            <a:xfrm>
              <a:off x="10241051" y="3189730"/>
              <a:ext cx="180446" cy="169510"/>
            </a:xfrm>
            <a:custGeom>
              <a:avLst/>
              <a:gdLst>
                <a:gd name="T0" fmla="*/ 8 w 28"/>
                <a:gd name="T1" fmla="*/ 0 h 26"/>
                <a:gd name="T2" fmla="*/ 3 w 28"/>
                <a:gd name="T3" fmla="*/ 7 h 26"/>
                <a:gd name="T4" fmla="*/ 0 w 28"/>
                <a:gd name="T5" fmla="*/ 11 h 26"/>
                <a:gd name="T6" fmla="*/ 20 w 28"/>
                <a:gd name="T7" fmla="*/ 26 h 26"/>
                <a:gd name="T8" fmla="*/ 28 w 28"/>
                <a:gd name="T9" fmla="*/ 14 h 26"/>
                <a:gd name="T10" fmla="*/ 13 w 28"/>
                <a:gd name="T11" fmla="*/ 3 h 26"/>
                <a:gd name="T12" fmla="*/ 8 w 28"/>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8" h="26">
                  <a:moveTo>
                    <a:pt x="8" y="0"/>
                  </a:moveTo>
                  <a:cubicBezTo>
                    <a:pt x="6" y="2"/>
                    <a:pt x="5" y="5"/>
                    <a:pt x="3" y="7"/>
                  </a:cubicBezTo>
                  <a:cubicBezTo>
                    <a:pt x="2" y="8"/>
                    <a:pt x="1" y="9"/>
                    <a:pt x="0" y="11"/>
                  </a:cubicBezTo>
                  <a:cubicBezTo>
                    <a:pt x="20" y="26"/>
                    <a:pt x="20" y="26"/>
                    <a:pt x="20" y="26"/>
                  </a:cubicBezTo>
                  <a:cubicBezTo>
                    <a:pt x="28" y="14"/>
                    <a:pt x="28" y="14"/>
                    <a:pt x="28" y="14"/>
                  </a:cubicBezTo>
                  <a:cubicBezTo>
                    <a:pt x="13" y="3"/>
                    <a:pt x="13" y="3"/>
                    <a:pt x="13" y="3"/>
                  </a:cubicBezTo>
                  <a:cubicBezTo>
                    <a:pt x="8" y="0"/>
                    <a:pt x="8" y="0"/>
                    <a:pt x="8" y="0"/>
                  </a:cubicBezTo>
                </a:path>
              </a:pathLst>
            </a:cu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6" name="Freeform 21">
              <a:extLst>
                <a:ext uri="{FF2B5EF4-FFF2-40B4-BE49-F238E27FC236}">
                  <a16:creationId xmlns:a16="http://schemas.microsoft.com/office/drawing/2014/main" id="{2B80ECEC-DAAE-0348-A5D4-08D209DE4FBF}"/>
                </a:ext>
              </a:extLst>
            </p:cNvPr>
            <p:cNvSpPr>
              <a:spLocks/>
            </p:cNvSpPr>
            <p:nvPr/>
          </p:nvSpPr>
          <p:spPr bwMode="auto">
            <a:xfrm>
              <a:off x="10292997" y="3189730"/>
              <a:ext cx="123031" cy="90223"/>
            </a:xfrm>
            <a:custGeom>
              <a:avLst/>
              <a:gdLst>
                <a:gd name="T0" fmla="*/ 0 w 19"/>
                <a:gd name="T1" fmla="*/ 0 h 14"/>
                <a:gd name="T2" fmla="*/ 0 w 19"/>
                <a:gd name="T3" fmla="*/ 0 h 14"/>
                <a:gd name="T4" fmla="*/ 19 w 19"/>
                <a:gd name="T5" fmla="*/ 14 h 14"/>
                <a:gd name="T6" fmla="*/ 0 w 19"/>
                <a:gd name="T7" fmla="*/ 0 h 14"/>
              </a:gdLst>
              <a:ahLst/>
              <a:cxnLst>
                <a:cxn ang="0">
                  <a:pos x="T0" y="T1"/>
                </a:cxn>
                <a:cxn ang="0">
                  <a:pos x="T2" y="T3"/>
                </a:cxn>
                <a:cxn ang="0">
                  <a:pos x="T4" y="T5"/>
                </a:cxn>
                <a:cxn ang="0">
                  <a:pos x="T6" y="T7"/>
                </a:cxn>
              </a:cxnLst>
              <a:rect l="0" t="0" r="r" b="b"/>
              <a:pathLst>
                <a:path w="19" h="14">
                  <a:moveTo>
                    <a:pt x="0" y="0"/>
                  </a:moveTo>
                  <a:cubicBezTo>
                    <a:pt x="0" y="0"/>
                    <a:pt x="0" y="0"/>
                    <a:pt x="0" y="0"/>
                  </a:cubicBezTo>
                  <a:cubicBezTo>
                    <a:pt x="19" y="14"/>
                    <a:pt x="19" y="14"/>
                    <a:pt x="19" y="14"/>
                  </a:cubicBezTo>
                  <a:cubicBezTo>
                    <a:pt x="0" y="0"/>
                    <a:pt x="0" y="0"/>
                    <a:pt x="0" y="0"/>
                  </a:cubicBezTo>
                </a:path>
              </a:pathLst>
            </a:custGeom>
            <a:solidFill>
              <a:srgbClr val="0033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7" name="Freeform 22">
              <a:extLst>
                <a:ext uri="{FF2B5EF4-FFF2-40B4-BE49-F238E27FC236}">
                  <a16:creationId xmlns:a16="http://schemas.microsoft.com/office/drawing/2014/main" id="{EB708C68-C560-F64E-AB3B-07A9637D4783}"/>
                </a:ext>
              </a:extLst>
            </p:cNvPr>
            <p:cNvSpPr>
              <a:spLocks/>
            </p:cNvSpPr>
            <p:nvPr/>
          </p:nvSpPr>
          <p:spPr bwMode="auto">
            <a:xfrm>
              <a:off x="10260189" y="3189730"/>
              <a:ext cx="32808" cy="46478"/>
            </a:xfrm>
            <a:custGeom>
              <a:avLst/>
              <a:gdLst>
                <a:gd name="T0" fmla="*/ 5 w 5"/>
                <a:gd name="T1" fmla="*/ 0 h 7"/>
                <a:gd name="T2" fmla="*/ 0 w 5"/>
                <a:gd name="T3" fmla="*/ 7 h 7"/>
                <a:gd name="T4" fmla="*/ 5 w 5"/>
                <a:gd name="T5" fmla="*/ 0 h 7"/>
                <a:gd name="T6" fmla="*/ 5 w 5"/>
                <a:gd name="T7" fmla="*/ 0 h 7"/>
                <a:gd name="T8" fmla="*/ 5 w 5"/>
                <a:gd name="T9" fmla="*/ 0 h 7"/>
                <a:gd name="T10" fmla="*/ 5 w 5"/>
                <a:gd name="T11" fmla="*/ 0 h 7"/>
                <a:gd name="T12" fmla="*/ 5 w 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5" h="7">
                  <a:moveTo>
                    <a:pt x="5" y="0"/>
                  </a:moveTo>
                  <a:cubicBezTo>
                    <a:pt x="3" y="2"/>
                    <a:pt x="2" y="5"/>
                    <a:pt x="0" y="7"/>
                  </a:cubicBezTo>
                  <a:cubicBezTo>
                    <a:pt x="2" y="5"/>
                    <a:pt x="3" y="2"/>
                    <a:pt x="5" y="0"/>
                  </a:cubicBezTo>
                  <a:cubicBezTo>
                    <a:pt x="5" y="0"/>
                    <a:pt x="5" y="0"/>
                    <a:pt x="5" y="0"/>
                  </a:cubicBezTo>
                  <a:cubicBezTo>
                    <a:pt x="5" y="0"/>
                    <a:pt x="5" y="0"/>
                    <a:pt x="5" y="0"/>
                  </a:cubicBezTo>
                  <a:cubicBezTo>
                    <a:pt x="5" y="0"/>
                    <a:pt x="5" y="0"/>
                    <a:pt x="5" y="0"/>
                  </a:cubicBezTo>
                  <a:cubicBezTo>
                    <a:pt x="5" y="0"/>
                    <a:pt x="5" y="0"/>
                    <a:pt x="5" y="0"/>
                  </a:cubicBezTo>
                </a:path>
              </a:pathLst>
            </a:custGeom>
            <a:solidFill>
              <a:srgbClr val="0033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8" name="Rectangle 23">
              <a:extLst>
                <a:ext uri="{FF2B5EF4-FFF2-40B4-BE49-F238E27FC236}">
                  <a16:creationId xmlns:a16="http://schemas.microsoft.com/office/drawing/2014/main" id="{E755DB5A-5435-B14E-983D-6BB87045BDFB}"/>
                </a:ext>
              </a:extLst>
            </p:cNvPr>
            <p:cNvSpPr>
              <a:spLocks noChangeArrowheads="1"/>
            </p:cNvSpPr>
            <p:nvPr/>
          </p:nvSpPr>
          <p:spPr bwMode="auto">
            <a:xfrm>
              <a:off x="11348332" y="1675079"/>
              <a:ext cx="2734" cy="2734"/>
            </a:xfrm>
            <a:prstGeom prst="rect">
              <a:avLst/>
            </a:prstGeom>
            <a:solidFill>
              <a:srgbClr val="FCFD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9" name="Freeform 24">
              <a:extLst>
                <a:ext uri="{FF2B5EF4-FFF2-40B4-BE49-F238E27FC236}">
                  <a16:creationId xmlns:a16="http://schemas.microsoft.com/office/drawing/2014/main" id="{628D07A5-852A-A544-8910-A7724BFC5E8A}"/>
                </a:ext>
              </a:extLst>
            </p:cNvPr>
            <p:cNvSpPr>
              <a:spLocks/>
            </p:cNvSpPr>
            <p:nvPr/>
          </p:nvSpPr>
          <p:spPr bwMode="auto">
            <a:xfrm>
              <a:off x="11348332" y="1675079"/>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0" name="Rectangle 25">
              <a:extLst>
                <a:ext uri="{FF2B5EF4-FFF2-40B4-BE49-F238E27FC236}">
                  <a16:creationId xmlns:a16="http://schemas.microsoft.com/office/drawing/2014/main" id="{DD2321D3-AF5C-664E-901C-1BFEFABC5603}"/>
                </a:ext>
              </a:extLst>
            </p:cNvPr>
            <p:cNvSpPr>
              <a:spLocks noChangeArrowheads="1"/>
            </p:cNvSpPr>
            <p:nvPr/>
          </p:nvSpPr>
          <p:spPr bwMode="auto">
            <a:xfrm>
              <a:off x="11348332" y="1675079"/>
              <a:ext cx="2734" cy="5468"/>
            </a:xfrm>
            <a:prstGeom prst="rect">
              <a:avLst/>
            </a:prstGeom>
            <a:solidFill>
              <a:srgbClr val="EEEF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1" name="Rectangle 26">
              <a:extLst>
                <a:ext uri="{FF2B5EF4-FFF2-40B4-BE49-F238E27FC236}">
                  <a16:creationId xmlns:a16="http://schemas.microsoft.com/office/drawing/2014/main" id="{1C748B83-2769-7248-818A-7CFE6E7D346D}"/>
                </a:ext>
              </a:extLst>
            </p:cNvPr>
            <p:cNvSpPr>
              <a:spLocks noChangeArrowheads="1"/>
            </p:cNvSpPr>
            <p:nvPr/>
          </p:nvSpPr>
          <p:spPr bwMode="auto">
            <a:xfrm>
              <a:off x="11348332" y="1675079"/>
              <a:ext cx="2734" cy="54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2" name="Rectangle 27">
              <a:extLst>
                <a:ext uri="{FF2B5EF4-FFF2-40B4-BE49-F238E27FC236}">
                  <a16:creationId xmlns:a16="http://schemas.microsoft.com/office/drawing/2014/main" id="{F31F92E2-671E-CB4A-AA8D-1208AEBDECEB}"/>
                </a:ext>
              </a:extLst>
            </p:cNvPr>
            <p:cNvSpPr>
              <a:spLocks noChangeArrowheads="1"/>
            </p:cNvSpPr>
            <p:nvPr/>
          </p:nvSpPr>
          <p:spPr bwMode="auto">
            <a:xfrm>
              <a:off x="11348332" y="1680547"/>
              <a:ext cx="2734" cy="2734"/>
            </a:xfrm>
            <a:prstGeom prst="rect">
              <a:avLst/>
            </a:prstGeom>
            <a:solidFill>
              <a:srgbClr val="FC9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3" name="Freeform 28">
              <a:extLst>
                <a:ext uri="{FF2B5EF4-FFF2-40B4-BE49-F238E27FC236}">
                  <a16:creationId xmlns:a16="http://schemas.microsoft.com/office/drawing/2014/main" id="{737C43F6-9753-8D4D-84BB-1400B6E1451C}"/>
                </a:ext>
              </a:extLst>
            </p:cNvPr>
            <p:cNvSpPr>
              <a:spLocks/>
            </p:cNvSpPr>
            <p:nvPr/>
          </p:nvSpPr>
          <p:spPr bwMode="auto">
            <a:xfrm>
              <a:off x="11348332" y="1680547"/>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4" name="Rectangle 29">
              <a:extLst>
                <a:ext uri="{FF2B5EF4-FFF2-40B4-BE49-F238E27FC236}">
                  <a16:creationId xmlns:a16="http://schemas.microsoft.com/office/drawing/2014/main" id="{10EE7EBD-5DDA-A140-90F7-992F261F41B7}"/>
                </a:ext>
              </a:extLst>
            </p:cNvPr>
            <p:cNvSpPr>
              <a:spLocks noChangeArrowheads="1"/>
            </p:cNvSpPr>
            <p:nvPr/>
          </p:nvSpPr>
          <p:spPr bwMode="auto">
            <a:xfrm>
              <a:off x="11348332" y="1675079"/>
              <a:ext cx="2734" cy="2734"/>
            </a:xfrm>
            <a:prstGeom prst="rect">
              <a:avLst/>
            </a:prstGeom>
            <a:solidFill>
              <a:srgbClr val="FCFD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5" name="Freeform 30">
              <a:extLst>
                <a:ext uri="{FF2B5EF4-FFF2-40B4-BE49-F238E27FC236}">
                  <a16:creationId xmlns:a16="http://schemas.microsoft.com/office/drawing/2014/main" id="{68175B7E-B326-CE42-9B4D-3836E418F14B}"/>
                </a:ext>
              </a:extLst>
            </p:cNvPr>
            <p:cNvSpPr>
              <a:spLocks/>
            </p:cNvSpPr>
            <p:nvPr/>
          </p:nvSpPr>
          <p:spPr bwMode="auto">
            <a:xfrm>
              <a:off x="11348332" y="1675079"/>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6" name="Rectangle 31">
              <a:extLst>
                <a:ext uri="{FF2B5EF4-FFF2-40B4-BE49-F238E27FC236}">
                  <a16:creationId xmlns:a16="http://schemas.microsoft.com/office/drawing/2014/main" id="{B95E3F01-C62A-2A4A-A971-2A97931238DB}"/>
                </a:ext>
              </a:extLst>
            </p:cNvPr>
            <p:cNvSpPr>
              <a:spLocks noChangeArrowheads="1"/>
            </p:cNvSpPr>
            <p:nvPr/>
          </p:nvSpPr>
          <p:spPr bwMode="auto">
            <a:xfrm>
              <a:off x="11348332" y="1675079"/>
              <a:ext cx="2734" cy="2734"/>
            </a:xfrm>
            <a:prstGeom prst="rect">
              <a:avLst/>
            </a:prstGeom>
            <a:solidFill>
              <a:srgbClr val="EEEF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7" name="Rectangle 32">
              <a:extLst>
                <a:ext uri="{FF2B5EF4-FFF2-40B4-BE49-F238E27FC236}">
                  <a16:creationId xmlns:a16="http://schemas.microsoft.com/office/drawing/2014/main" id="{BE469378-B31E-9444-AC43-3996348B3299}"/>
                </a:ext>
              </a:extLst>
            </p:cNvPr>
            <p:cNvSpPr>
              <a:spLocks noChangeArrowheads="1"/>
            </p:cNvSpPr>
            <p:nvPr/>
          </p:nvSpPr>
          <p:spPr bwMode="auto">
            <a:xfrm>
              <a:off x="11348332" y="1675079"/>
              <a:ext cx="2734" cy="2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8" name="Rectangle 33">
              <a:extLst>
                <a:ext uri="{FF2B5EF4-FFF2-40B4-BE49-F238E27FC236}">
                  <a16:creationId xmlns:a16="http://schemas.microsoft.com/office/drawing/2014/main" id="{F56DF5AC-7139-E94F-9B53-7E287FB35F39}"/>
                </a:ext>
              </a:extLst>
            </p:cNvPr>
            <p:cNvSpPr>
              <a:spLocks noChangeArrowheads="1"/>
            </p:cNvSpPr>
            <p:nvPr/>
          </p:nvSpPr>
          <p:spPr bwMode="auto">
            <a:xfrm>
              <a:off x="11348332" y="1675079"/>
              <a:ext cx="2734" cy="2734"/>
            </a:xfrm>
            <a:prstGeom prst="rect">
              <a:avLst/>
            </a:prstGeom>
            <a:solidFill>
              <a:srgbClr val="FC9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9" name="Freeform 34">
              <a:extLst>
                <a:ext uri="{FF2B5EF4-FFF2-40B4-BE49-F238E27FC236}">
                  <a16:creationId xmlns:a16="http://schemas.microsoft.com/office/drawing/2014/main" id="{336124FF-D2A1-DF44-B2FB-D452119E2753}"/>
                </a:ext>
              </a:extLst>
            </p:cNvPr>
            <p:cNvSpPr>
              <a:spLocks/>
            </p:cNvSpPr>
            <p:nvPr/>
          </p:nvSpPr>
          <p:spPr bwMode="auto">
            <a:xfrm>
              <a:off x="11348332" y="1675079"/>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0" name="Freeform 35">
              <a:extLst>
                <a:ext uri="{FF2B5EF4-FFF2-40B4-BE49-F238E27FC236}">
                  <a16:creationId xmlns:a16="http://schemas.microsoft.com/office/drawing/2014/main" id="{0961F6B5-710A-BA4B-B447-BEB10E05D9C6}"/>
                </a:ext>
              </a:extLst>
            </p:cNvPr>
            <p:cNvSpPr>
              <a:spLocks noEditPoints="1"/>
            </p:cNvSpPr>
            <p:nvPr/>
          </p:nvSpPr>
          <p:spPr bwMode="auto">
            <a:xfrm>
              <a:off x="11006578" y="1718823"/>
              <a:ext cx="341753" cy="1044398"/>
            </a:xfrm>
            <a:custGeom>
              <a:avLst/>
              <a:gdLst>
                <a:gd name="T0" fmla="*/ 0 w 53"/>
                <a:gd name="T1" fmla="*/ 161 h 161"/>
                <a:gd name="T2" fmla="*/ 0 w 53"/>
                <a:gd name="T3" fmla="*/ 161 h 161"/>
                <a:gd name="T4" fmla="*/ 0 w 53"/>
                <a:gd name="T5" fmla="*/ 161 h 161"/>
                <a:gd name="T6" fmla="*/ 0 w 53"/>
                <a:gd name="T7" fmla="*/ 160 h 161"/>
                <a:gd name="T8" fmla="*/ 0 w 53"/>
                <a:gd name="T9" fmla="*/ 160 h 161"/>
                <a:gd name="T10" fmla="*/ 0 w 53"/>
                <a:gd name="T11" fmla="*/ 160 h 161"/>
                <a:gd name="T12" fmla="*/ 0 w 53"/>
                <a:gd name="T13" fmla="*/ 160 h 161"/>
                <a:gd name="T14" fmla="*/ 0 w 53"/>
                <a:gd name="T15" fmla="*/ 160 h 161"/>
                <a:gd name="T16" fmla="*/ 0 w 53"/>
                <a:gd name="T17" fmla="*/ 160 h 161"/>
                <a:gd name="T18" fmla="*/ 0 w 53"/>
                <a:gd name="T19" fmla="*/ 160 h 161"/>
                <a:gd name="T20" fmla="*/ 0 w 53"/>
                <a:gd name="T21" fmla="*/ 160 h 161"/>
                <a:gd name="T22" fmla="*/ 0 w 53"/>
                <a:gd name="T23" fmla="*/ 160 h 161"/>
                <a:gd name="T24" fmla="*/ 0 w 53"/>
                <a:gd name="T25" fmla="*/ 160 h 161"/>
                <a:gd name="T26" fmla="*/ 0 w 53"/>
                <a:gd name="T27" fmla="*/ 160 h 161"/>
                <a:gd name="T28" fmla="*/ 0 w 53"/>
                <a:gd name="T29" fmla="*/ 160 h 161"/>
                <a:gd name="T30" fmla="*/ 1 w 53"/>
                <a:gd name="T31" fmla="*/ 159 h 161"/>
                <a:gd name="T32" fmla="*/ 1 w 53"/>
                <a:gd name="T33" fmla="*/ 159 h 161"/>
                <a:gd name="T34" fmla="*/ 1 w 53"/>
                <a:gd name="T35" fmla="*/ 159 h 161"/>
                <a:gd name="T36" fmla="*/ 7 w 53"/>
                <a:gd name="T37" fmla="*/ 150 h 161"/>
                <a:gd name="T38" fmla="*/ 7 w 53"/>
                <a:gd name="T39" fmla="*/ 150 h 161"/>
                <a:gd name="T40" fmla="*/ 7 w 53"/>
                <a:gd name="T41" fmla="*/ 150 h 161"/>
                <a:gd name="T42" fmla="*/ 7 w 53"/>
                <a:gd name="T43" fmla="*/ 149 h 161"/>
                <a:gd name="T44" fmla="*/ 7 w 53"/>
                <a:gd name="T45" fmla="*/ 149 h 161"/>
                <a:gd name="T46" fmla="*/ 7 w 53"/>
                <a:gd name="T47" fmla="*/ 149 h 161"/>
                <a:gd name="T48" fmla="*/ 8 w 53"/>
                <a:gd name="T49" fmla="*/ 149 h 161"/>
                <a:gd name="T50" fmla="*/ 8 w 53"/>
                <a:gd name="T51" fmla="*/ 149 h 161"/>
                <a:gd name="T52" fmla="*/ 8 w 53"/>
                <a:gd name="T53" fmla="*/ 149 h 161"/>
                <a:gd name="T54" fmla="*/ 8 w 53"/>
                <a:gd name="T55" fmla="*/ 149 h 161"/>
                <a:gd name="T56" fmla="*/ 8 w 53"/>
                <a:gd name="T57" fmla="*/ 149 h 161"/>
                <a:gd name="T58" fmla="*/ 8 w 53"/>
                <a:gd name="T59" fmla="*/ 149 h 161"/>
                <a:gd name="T60" fmla="*/ 8 w 53"/>
                <a:gd name="T61" fmla="*/ 149 h 161"/>
                <a:gd name="T62" fmla="*/ 8 w 53"/>
                <a:gd name="T63" fmla="*/ 149 h 161"/>
                <a:gd name="T64" fmla="*/ 8 w 53"/>
                <a:gd name="T65" fmla="*/ 149 h 161"/>
                <a:gd name="T66" fmla="*/ 8 w 53"/>
                <a:gd name="T67" fmla="*/ 148 h 161"/>
                <a:gd name="T68" fmla="*/ 8 w 53"/>
                <a:gd name="T69" fmla="*/ 148 h 161"/>
                <a:gd name="T70" fmla="*/ 8 w 53"/>
                <a:gd name="T71" fmla="*/ 148 h 161"/>
                <a:gd name="T72" fmla="*/ 53 w 53"/>
                <a:gd name="T73" fmla="*/ 0 h 161"/>
                <a:gd name="T74" fmla="*/ 8 w 53"/>
                <a:gd name="T75" fmla="*/ 148 h 161"/>
                <a:gd name="T76" fmla="*/ 53 w 53"/>
                <a:gd name="T7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 h="161">
                  <a:moveTo>
                    <a:pt x="0" y="161"/>
                  </a:moveTo>
                  <a:cubicBezTo>
                    <a:pt x="0" y="161"/>
                    <a:pt x="0" y="161"/>
                    <a:pt x="0" y="161"/>
                  </a:cubicBezTo>
                  <a:cubicBezTo>
                    <a:pt x="0" y="161"/>
                    <a:pt x="0" y="161"/>
                    <a:pt x="0" y="161"/>
                  </a:cubicBezTo>
                  <a:moveTo>
                    <a:pt x="0" y="160"/>
                  </a:moveTo>
                  <a:cubicBezTo>
                    <a:pt x="0" y="160"/>
                    <a:pt x="0" y="160"/>
                    <a:pt x="0" y="160"/>
                  </a:cubicBezTo>
                  <a:cubicBezTo>
                    <a:pt x="0" y="160"/>
                    <a:pt x="0" y="160"/>
                    <a:pt x="0" y="160"/>
                  </a:cubicBezTo>
                  <a:moveTo>
                    <a:pt x="0" y="160"/>
                  </a:moveTo>
                  <a:cubicBezTo>
                    <a:pt x="0" y="160"/>
                    <a:pt x="0" y="160"/>
                    <a:pt x="0" y="160"/>
                  </a:cubicBezTo>
                  <a:cubicBezTo>
                    <a:pt x="0" y="160"/>
                    <a:pt x="0" y="160"/>
                    <a:pt x="0" y="160"/>
                  </a:cubicBezTo>
                  <a:moveTo>
                    <a:pt x="0" y="160"/>
                  </a:moveTo>
                  <a:cubicBezTo>
                    <a:pt x="0" y="160"/>
                    <a:pt x="0" y="160"/>
                    <a:pt x="0" y="160"/>
                  </a:cubicBezTo>
                  <a:cubicBezTo>
                    <a:pt x="0" y="160"/>
                    <a:pt x="0" y="160"/>
                    <a:pt x="0" y="160"/>
                  </a:cubicBezTo>
                  <a:moveTo>
                    <a:pt x="0" y="160"/>
                  </a:moveTo>
                  <a:cubicBezTo>
                    <a:pt x="0" y="160"/>
                    <a:pt x="0" y="160"/>
                    <a:pt x="0" y="160"/>
                  </a:cubicBezTo>
                  <a:cubicBezTo>
                    <a:pt x="0" y="160"/>
                    <a:pt x="0" y="160"/>
                    <a:pt x="0" y="160"/>
                  </a:cubicBezTo>
                  <a:moveTo>
                    <a:pt x="1" y="159"/>
                  </a:moveTo>
                  <a:cubicBezTo>
                    <a:pt x="1" y="159"/>
                    <a:pt x="1" y="159"/>
                    <a:pt x="1" y="159"/>
                  </a:cubicBezTo>
                  <a:cubicBezTo>
                    <a:pt x="1" y="159"/>
                    <a:pt x="1" y="159"/>
                    <a:pt x="1" y="159"/>
                  </a:cubicBezTo>
                  <a:moveTo>
                    <a:pt x="7" y="150"/>
                  </a:moveTo>
                  <a:cubicBezTo>
                    <a:pt x="7" y="150"/>
                    <a:pt x="7" y="150"/>
                    <a:pt x="7" y="150"/>
                  </a:cubicBezTo>
                  <a:cubicBezTo>
                    <a:pt x="7" y="150"/>
                    <a:pt x="7" y="150"/>
                    <a:pt x="7" y="150"/>
                  </a:cubicBezTo>
                  <a:moveTo>
                    <a:pt x="7" y="149"/>
                  </a:moveTo>
                  <a:cubicBezTo>
                    <a:pt x="7" y="149"/>
                    <a:pt x="7" y="149"/>
                    <a:pt x="7" y="149"/>
                  </a:cubicBezTo>
                  <a:cubicBezTo>
                    <a:pt x="7" y="149"/>
                    <a:pt x="7" y="149"/>
                    <a:pt x="7" y="149"/>
                  </a:cubicBezTo>
                  <a:moveTo>
                    <a:pt x="8" y="149"/>
                  </a:moveTo>
                  <a:cubicBezTo>
                    <a:pt x="8" y="149"/>
                    <a:pt x="8" y="149"/>
                    <a:pt x="8" y="149"/>
                  </a:cubicBezTo>
                  <a:cubicBezTo>
                    <a:pt x="8" y="149"/>
                    <a:pt x="8" y="149"/>
                    <a:pt x="8" y="149"/>
                  </a:cubicBezTo>
                  <a:moveTo>
                    <a:pt x="8" y="149"/>
                  </a:moveTo>
                  <a:cubicBezTo>
                    <a:pt x="8" y="149"/>
                    <a:pt x="8" y="149"/>
                    <a:pt x="8" y="149"/>
                  </a:cubicBezTo>
                  <a:cubicBezTo>
                    <a:pt x="8" y="149"/>
                    <a:pt x="8" y="149"/>
                    <a:pt x="8" y="149"/>
                  </a:cubicBezTo>
                  <a:moveTo>
                    <a:pt x="8" y="149"/>
                  </a:moveTo>
                  <a:cubicBezTo>
                    <a:pt x="8" y="149"/>
                    <a:pt x="8" y="149"/>
                    <a:pt x="8" y="149"/>
                  </a:cubicBezTo>
                  <a:cubicBezTo>
                    <a:pt x="8" y="149"/>
                    <a:pt x="8" y="149"/>
                    <a:pt x="8" y="149"/>
                  </a:cubicBezTo>
                  <a:moveTo>
                    <a:pt x="8" y="148"/>
                  </a:moveTo>
                  <a:cubicBezTo>
                    <a:pt x="8" y="148"/>
                    <a:pt x="8" y="148"/>
                    <a:pt x="8" y="148"/>
                  </a:cubicBezTo>
                  <a:cubicBezTo>
                    <a:pt x="8" y="148"/>
                    <a:pt x="8" y="148"/>
                    <a:pt x="8" y="148"/>
                  </a:cubicBezTo>
                  <a:moveTo>
                    <a:pt x="53" y="0"/>
                  </a:moveTo>
                  <a:cubicBezTo>
                    <a:pt x="52" y="21"/>
                    <a:pt x="46" y="89"/>
                    <a:pt x="8" y="148"/>
                  </a:cubicBezTo>
                  <a:cubicBezTo>
                    <a:pt x="46" y="89"/>
                    <a:pt x="52" y="21"/>
                    <a:pt x="53" y="0"/>
                  </a:cubicBezTo>
                </a:path>
              </a:pathLst>
            </a:custGeom>
            <a:solidFill>
              <a:srgbClr val="F1F1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1" name="Freeform 36">
              <a:extLst>
                <a:ext uri="{FF2B5EF4-FFF2-40B4-BE49-F238E27FC236}">
                  <a16:creationId xmlns:a16="http://schemas.microsoft.com/office/drawing/2014/main" id="{A0ABC22C-471A-214F-98F3-740F7A8386E3}"/>
                </a:ext>
              </a:extLst>
            </p:cNvPr>
            <p:cNvSpPr>
              <a:spLocks/>
            </p:cNvSpPr>
            <p:nvPr/>
          </p:nvSpPr>
          <p:spPr bwMode="auto">
            <a:xfrm>
              <a:off x="10350412" y="1694217"/>
              <a:ext cx="997920" cy="1541991"/>
            </a:xfrm>
            <a:custGeom>
              <a:avLst/>
              <a:gdLst>
                <a:gd name="T0" fmla="*/ 154 w 154"/>
                <a:gd name="T1" fmla="*/ 9 h 238"/>
                <a:gd name="T2" fmla="*/ 154 w 154"/>
                <a:gd name="T3" fmla="*/ 9 h 238"/>
                <a:gd name="T4" fmla="*/ 152 w 154"/>
                <a:gd name="T5" fmla="*/ 27 h 238"/>
                <a:gd name="T6" fmla="*/ 152 w 154"/>
                <a:gd name="T7" fmla="*/ 27 h 238"/>
                <a:gd name="T8" fmla="*/ 152 w 154"/>
                <a:gd name="T9" fmla="*/ 27 h 238"/>
                <a:gd name="T10" fmla="*/ 152 w 154"/>
                <a:gd name="T11" fmla="*/ 28 h 238"/>
                <a:gd name="T12" fmla="*/ 143 w 154"/>
                <a:gd name="T13" fmla="*/ 74 h 238"/>
                <a:gd name="T14" fmla="*/ 143 w 154"/>
                <a:gd name="T15" fmla="*/ 74 h 238"/>
                <a:gd name="T16" fmla="*/ 143 w 154"/>
                <a:gd name="T17" fmla="*/ 74 h 238"/>
                <a:gd name="T18" fmla="*/ 143 w 154"/>
                <a:gd name="T19" fmla="*/ 75 h 238"/>
                <a:gd name="T20" fmla="*/ 95 w 154"/>
                <a:gd name="T21" fmla="*/ 77 h 238"/>
                <a:gd name="T22" fmla="*/ 106 w 154"/>
                <a:gd name="T23" fmla="*/ 98 h 238"/>
                <a:gd name="T24" fmla="*/ 101 w 154"/>
                <a:gd name="T25" fmla="*/ 114 h 238"/>
                <a:gd name="T26" fmla="*/ 101 w 154"/>
                <a:gd name="T27" fmla="*/ 114 h 238"/>
                <a:gd name="T28" fmla="*/ 80 w 154"/>
                <a:gd name="T29" fmla="*/ 125 h 238"/>
                <a:gd name="T30" fmla="*/ 80 w 154"/>
                <a:gd name="T31" fmla="*/ 125 h 238"/>
                <a:gd name="T32" fmla="*/ 65 w 154"/>
                <a:gd name="T33" fmla="*/ 120 h 238"/>
                <a:gd name="T34" fmla="*/ 65 w 154"/>
                <a:gd name="T35" fmla="*/ 120 h 238"/>
                <a:gd name="T36" fmla="*/ 30 w 154"/>
                <a:gd name="T37" fmla="*/ 167 h 238"/>
                <a:gd name="T38" fmla="*/ 30 w 154"/>
                <a:gd name="T39" fmla="*/ 167 h 238"/>
                <a:gd name="T40" fmla="*/ 30 w 154"/>
                <a:gd name="T41" fmla="*/ 167 h 238"/>
                <a:gd name="T42" fmla="*/ 30 w 154"/>
                <a:gd name="T43" fmla="*/ 167 h 238"/>
                <a:gd name="T44" fmla="*/ 30 w 154"/>
                <a:gd name="T45" fmla="*/ 167 h 238"/>
                <a:gd name="T46" fmla="*/ 30 w 154"/>
                <a:gd name="T47" fmla="*/ 167 h 238"/>
                <a:gd name="T48" fmla="*/ 30 w 154"/>
                <a:gd name="T49" fmla="*/ 167 h 238"/>
                <a:gd name="T50" fmla="*/ 30 w 154"/>
                <a:gd name="T51" fmla="*/ 167 h 238"/>
                <a:gd name="T52" fmla="*/ 30 w 154"/>
                <a:gd name="T53" fmla="*/ 167 h 238"/>
                <a:gd name="T54" fmla="*/ 30 w 154"/>
                <a:gd name="T55" fmla="*/ 167 h 238"/>
                <a:gd name="T56" fmla="*/ 30 w 154"/>
                <a:gd name="T57" fmla="*/ 167 h 238"/>
                <a:gd name="T58" fmla="*/ 30 w 154"/>
                <a:gd name="T59" fmla="*/ 167 h 238"/>
                <a:gd name="T60" fmla="*/ 30 w 154"/>
                <a:gd name="T61" fmla="*/ 167 h 238"/>
                <a:gd name="T62" fmla="*/ 30 w 154"/>
                <a:gd name="T63" fmla="*/ 167 h 238"/>
                <a:gd name="T64" fmla="*/ 20 w 154"/>
                <a:gd name="T65" fmla="*/ 189 h 238"/>
                <a:gd name="T66" fmla="*/ 20 w 154"/>
                <a:gd name="T67" fmla="*/ 189 h 238"/>
                <a:gd name="T68" fmla="*/ 20 w 154"/>
                <a:gd name="T69" fmla="*/ 190 h 238"/>
                <a:gd name="T70" fmla="*/ 9 w 154"/>
                <a:gd name="T71" fmla="*/ 206 h 238"/>
                <a:gd name="T72" fmla="*/ 9 w 154"/>
                <a:gd name="T73" fmla="*/ 206 h 238"/>
                <a:gd name="T74" fmla="*/ 9 w 154"/>
                <a:gd name="T75" fmla="*/ 206 h 238"/>
                <a:gd name="T76" fmla="*/ 25 w 154"/>
                <a:gd name="T77" fmla="*/ 238 h 238"/>
                <a:gd name="T78" fmla="*/ 64 w 154"/>
                <a:gd name="T79" fmla="*/ 208 h 238"/>
                <a:gd name="T80" fmla="*/ 101 w 154"/>
                <a:gd name="T81" fmla="*/ 165 h 238"/>
                <a:gd name="T82" fmla="*/ 101 w 154"/>
                <a:gd name="T83" fmla="*/ 164 h 238"/>
                <a:gd name="T84" fmla="*/ 101 w 154"/>
                <a:gd name="T85" fmla="*/ 164 h 238"/>
                <a:gd name="T86" fmla="*/ 101 w 154"/>
                <a:gd name="T87" fmla="*/ 164 h 238"/>
                <a:gd name="T88" fmla="*/ 101 w 154"/>
                <a:gd name="T89" fmla="*/ 164 h 238"/>
                <a:gd name="T90" fmla="*/ 102 w 154"/>
                <a:gd name="T91" fmla="*/ 163 h 238"/>
                <a:gd name="T92" fmla="*/ 108 w 154"/>
                <a:gd name="T93" fmla="*/ 154 h 238"/>
                <a:gd name="T94" fmla="*/ 108 w 154"/>
                <a:gd name="T95" fmla="*/ 153 h 238"/>
                <a:gd name="T96" fmla="*/ 109 w 154"/>
                <a:gd name="T97" fmla="*/ 153 h 238"/>
                <a:gd name="T98" fmla="*/ 109 w 154"/>
                <a:gd name="T99" fmla="*/ 153 h 238"/>
                <a:gd name="T100" fmla="*/ 109 w 154"/>
                <a:gd name="T101" fmla="*/ 153 h 238"/>
                <a:gd name="T102" fmla="*/ 109 w 154"/>
                <a:gd name="T103" fmla="*/ 152 h 238"/>
                <a:gd name="T104" fmla="*/ 109 w 154"/>
                <a:gd name="T105" fmla="*/ 152 h 238"/>
                <a:gd name="T106" fmla="*/ 154 w 154"/>
                <a:gd name="T107"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4" h="238">
                  <a:moveTo>
                    <a:pt x="154" y="0"/>
                  </a:moveTo>
                  <a:cubicBezTo>
                    <a:pt x="154" y="2"/>
                    <a:pt x="154" y="5"/>
                    <a:pt x="154" y="9"/>
                  </a:cubicBezTo>
                  <a:cubicBezTo>
                    <a:pt x="154" y="9"/>
                    <a:pt x="154" y="9"/>
                    <a:pt x="154" y="9"/>
                  </a:cubicBezTo>
                  <a:cubicBezTo>
                    <a:pt x="154" y="9"/>
                    <a:pt x="154" y="9"/>
                    <a:pt x="154" y="9"/>
                  </a:cubicBezTo>
                  <a:cubicBezTo>
                    <a:pt x="153" y="14"/>
                    <a:pt x="153" y="20"/>
                    <a:pt x="152" y="27"/>
                  </a:cubicBezTo>
                  <a:cubicBezTo>
                    <a:pt x="152" y="27"/>
                    <a:pt x="152" y="27"/>
                    <a:pt x="152" y="27"/>
                  </a:cubicBezTo>
                  <a:cubicBezTo>
                    <a:pt x="152" y="27"/>
                    <a:pt x="152" y="27"/>
                    <a:pt x="152" y="27"/>
                  </a:cubicBezTo>
                  <a:cubicBezTo>
                    <a:pt x="152" y="27"/>
                    <a:pt x="152" y="27"/>
                    <a:pt x="152" y="27"/>
                  </a:cubicBezTo>
                  <a:cubicBezTo>
                    <a:pt x="152" y="27"/>
                    <a:pt x="152" y="27"/>
                    <a:pt x="152" y="27"/>
                  </a:cubicBezTo>
                  <a:cubicBezTo>
                    <a:pt x="152" y="27"/>
                    <a:pt x="152" y="27"/>
                    <a:pt x="152" y="27"/>
                  </a:cubicBezTo>
                  <a:cubicBezTo>
                    <a:pt x="152" y="27"/>
                    <a:pt x="152" y="27"/>
                    <a:pt x="152" y="27"/>
                  </a:cubicBezTo>
                  <a:cubicBezTo>
                    <a:pt x="152" y="27"/>
                    <a:pt x="152" y="28"/>
                    <a:pt x="152" y="28"/>
                  </a:cubicBezTo>
                  <a:cubicBezTo>
                    <a:pt x="152" y="28"/>
                    <a:pt x="152" y="28"/>
                    <a:pt x="152" y="28"/>
                  </a:cubicBezTo>
                  <a:cubicBezTo>
                    <a:pt x="150" y="40"/>
                    <a:pt x="148" y="56"/>
                    <a:pt x="143" y="74"/>
                  </a:cubicBezTo>
                  <a:cubicBezTo>
                    <a:pt x="143" y="74"/>
                    <a:pt x="143" y="74"/>
                    <a:pt x="143" y="74"/>
                  </a:cubicBezTo>
                  <a:cubicBezTo>
                    <a:pt x="143" y="74"/>
                    <a:pt x="143" y="74"/>
                    <a:pt x="143" y="74"/>
                  </a:cubicBezTo>
                  <a:cubicBezTo>
                    <a:pt x="143" y="74"/>
                    <a:pt x="143" y="74"/>
                    <a:pt x="143" y="74"/>
                  </a:cubicBezTo>
                  <a:cubicBezTo>
                    <a:pt x="143" y="74"/>
                    <a:pt x="143" y="74"/>
                    <a:pt x="143" y="74"/>
                  </a:cubicBezTo>
                  <a:cubicBezTo>
                    <a:pt x="143" y="74"/>
                    <a:pt x="143" y="74"/>
                    <a:pt x="143" y="75"/>
                  </a:cubicBezTo>
                  <a:cubicBezTo>
                    <a:pt x="143" y="75"/>
                    <a:pt x="143" y="75"/>
                    <a:pt x="143" y="75"/>
                  </a:cubicBezTo>
                  <a:cubicBezTo>
                    <a:pt x="113" y="53"/>
                    <a:pt x="113" y="53"/>
                    <a:pt x="113" y="53"/>
                  </a:cubicBezTo>
                  <a:cubicBezTo>
                    <a:pt x="95" y="77"/>
                    <a:pt x="95" y="77"/>
                    <a:pt x="95" y="77"/>
                  </a:cubicBezTo>
                  <a:cubicBezTo>
                    <a:pt x="102" y="82"/>
                    <a:pt x="106" y="90"/>
                    <a:pt x="106" y="98"/>
                  </a:cubicBezTo>
                  <a:cubicBezTo>
                    <a:pt x="106" y="98"/>
                    <a:pt x="106" y="98"/>
                    <a:pt x="106" y="98"/>
                  </a:cubicBezTo>
                  <a:cubicBezTo>
                    <a:pt x="106" y="104"/>
                    <a:pt x="105" y="109"/>
                    <a:pt x="101" y="114"/>
                  </a:cubicBezTo>
                  <a:cubicBezTo>
                    <a:pt x="101" y="114"/>
                    <a:pt x="101" y="114"/>
                    <a:pt x="101" y="114"/>
                  </a:cubicBezTo>
                  <a:cubicBezTo>
                    <a:pt x="101" y="114"/>
                    <a:pt x="101" y="114"/>
                    <a:pt x="101" y="114"/>
                  </a:cubicBezTo>
                  <a:cubicBezTo>
                    <a:pt x="101" y="114"/>
                    <a:pt x="101" y="114"/>
                    <a:pt x="101" y="114"/>
                  </a:cubicBezTo>
                  <a:cubicBezTo>
                    <a:pt x="96" y="121"/>
                    <a:pt x="88" y="125"/>
                    <a:pt x="80" y="125"/>
                  </a:cubicBezTo>
                  <a:cubicBezTo>
                    <a:pt x="80" y="125"/>
                    <a:pt x="80" y="125"/>
                    <a:pt x="80" y="125"/>
                  </a:cubicBezTo>
                  <a:cubicBezTo>
                    <a:pt x="80" y="125"/>
                    <a:pt x="80" y="125"/>
                    <a:pt x="80" y="125"/>
                  </a:cubicBezTo>
                  <a:cubicBezTo>
                    <a:pt x="80" y="125"/>
                    <a:pt x="80" y="125"/>
                    <a:pt x="80" y="125"/>
                  </a:cubicBezTo>
                  <a:cubicBezTo>
                    <a:pt x="80" y="125"/>
                    <a:pt x="80" y="125"/>
                    <a:pt x="80" y="125"/>
                  </a:cubicBezTo>
                  <a:cubicBezTo>
                    <a:pt x="75" y="125"/>
                    <a:pt x="69" y="123"/>
                    <a:pt x="65" y="120"/>
                  </a:cubicBezTo>
                  <a:cubicBezTo>
                    <a:pt x="65" y="120"/>
                    <a:pt x="65" y="120"/>
                    <a:pt x="65" y="120"/>
                  </a:cubicBezTo>
                  <a:cubicBezTo>
                    <a:pt x="65" y="120"/>
                    <a:pt x="65" y="120"/>
                    <a:pt x="65" y="120"/>
                  </a:cubicBezTo>
                  <a:cubicBezTo>
                    <a:pt x="65" y="120"/>
                    <a:pt x="65" y="120"/>
                    <a:pt x="65" y="120"/>
                  </a:cubicBezTo>
                  <a:cubicBezTo>
                    <a:pt x="30" y="167"/>
                    <a:pt x="30" y="167"/>
                    <a:pt x="30" y="167"/>
                  </a:cubicBezTo>
                  <a:cubicBezTo>
                    <a:pt x="30" y="167"/>
                    <a:pt x="30" y="167"/>
                    <a:pt x="30" y="167"/>
                  </a:cubicBezTo>
                  <a:cubicBezTo>
                    <a:pt x="30" y="167"/>
                    <a:pt x="30" y="167"/>
                    <a:pt x="30" y="167"/>
                  </a:cubicBezTo>
                  <a:cubicBezTo>
                    <a:pt x="30" y="167"/>
                    <a:pt x="30" y="167"/>
                    <a:pt x="30" y="167"/>
                  </a:cubicBezTo>
                  <a:cubicBezTo>
                    <a:pt x="30" y="167"/>
                    <a:pt x="30" y="167"/>
                    <a:pt x="30" y="167"/>
                  </a:cubicBezTo>
                  <a:cubicBezTo>
                    <a:pt x="30" y="167"/>
                    <a:pt x="30" y="167"/>
                    <a:pt x="30" y="167"/>
                  </a:cubicBezTo>
                  <a:cubicBezTo>
                    <a:pt x="30" y="167"/>
                    <a:pt x="30" y="167"/>
                    <a:pt x="30" y="167"/>
                  </a:cubicBezTo>
                  <a:cubicBezTo>
                    <a:pt x="30" y="167"/>
                    <a:pt x="30" y="167"/>
                    <a:pt x="30" y="167"/>
                  </a:cubicBezTo>
                  <a:cubicBezTo>
                    <a:pt x="30" y="167"/>
                    <a:pt x="30" y="167"/>
                    <a:pt x="30" y="167"/>
                  </a:cubicBezTo>
                  <a:cubicBezTo>
                    <a:pt x="30" y="167"/>
                    <a:pt x="30" y="167"/>
                    <a:pt x="30" y="167"/>
                  </a:cubicBezTo>
                  <a:cubicBezTo>
                    <a:pt x="30" y="167"/>
                    <a:pt x="30" y="167"/>
                    <a:pt x="30" y="167"/>
                  </a:cubicBezTo>
                  <a:cubicBezTo>
                    <a:pt x="30" y="167"/>
                    <a:pt x="30" y="167"/>
                    <a:pt x="30" y="167"/>
                  </a:cubicBezTo>
                  <a:cubicBezTo>
                    <a:pt x="30" y="167"/>
                    <a:pt x="30" y="167"/>
                    <a:pt x="30" y="167"/>
                  </a:cubicBezTo>
                  <a:cubicBezTo>
                    <a:pt x="30" y="167"/>
                    <a:pt x="30" y="167"/>
                    <a:pt x="30" y="167"/>
                  </a:cubicBezTo>
                  <a:cubicBezTo>
                    <a:pt x="30" y="167"/>
                    <a:pt x="30" y="167"/>
                    <a:pt x="30" y="167"/>
                  </a:cubicBezTo>
                  <a:cubicBezTo>
                    <a:pt x="30" y="167"/>
                    <a:pt x="30" y="167"/>
                    <a:pt x="30" y="167"/>
                  </a:cubicBezTo>
                  <a:cubicBezTo>
                    <a:pt x="30" y="167"/>
                    <a:pt x="30" y="167"/>
                    <a:pt x="30" y="167"/>
                  </a:cubicBezTo>
                  <a:cubicBezTo>
                    <a:pt x="30" y="167"/>
                    <a:pt x="30" y="167"/>
                    <a:pt x="30" y="167"/>
                  </a:cubicBezTo>
                  <a:cubicBezTo>
                    <a:pt x="30" y="167"/>
                    <a:pt x="30" y="167"/>
                    <a:pt x="30" y="167"/>
                  </a:cubicBezTo>
                  <a:cubicBezTo>
                    <a:pt x="30" y="167"/>
                    <a:pt x="30" y="167"/>
                    <a:pt x="30" y="167"/>
                  </a:cubicBezTo>
                  <a:cubicBezTo>
                    <a:pt x="30" y="167"/>
                    <a:pt x="30" y="167"/>
                    <a:pt x="30" y="167"/>
                  </a:cubicBezTo>
                  <a:cubicBezTo>
                    <a:pt x="30" y="167"/>
                    <a:pt x="30" y="167"/>
                    <a:pt x="30" y="167"/>
                  </a:cubicBezTo>
                  <a:cubicBezTo>
                    <a:pt x="30" y="167"/>
                    <a:pt x="30" y="167"/>
                    <a:pt x="30" y="167"/>
                  </a:cubicBezTo>
                  <a:cubicBezTo>
                    <a:pt x="30" y="167"/>
                    <a:pt x="30" y="167"/>
                    <a:pt x="30" y="167"/>
                  </a:cubicBezTo>
                  <a:cubicBezTo>
                    <a:pt x="30" y="167"/>
                    <a:pt x="30" y="167"/>
                    <a:pt x="30" y="167"/>
                  </a:cubicBezTo>
                  <a:cubicBezTo>
                    <a:pt x="30" y="167"/>
                    <a:pt x="30" y="167"/>
                    <a:pt x="30" y="167"/>
                  </a:cubicBezTo>
                  <a:cubicBezTo>
                    <a:pt x="30" y="167"/>
                    <a:pt x="30" y="167"/>
                    <a:pt x="30" y="167"/>
                  </a:cubicBezTo>
                  <a:cubicBezTo>
                    <a:pt x="31" y="169"/>
                    <a:pt x="27" y="177"/>
                    <a:pt x="20" y="189"/>
                  </a:cubicBezTo>
                  <a:cubicBezTo>
                    <a:pt x="20" y="189"/>
                    <a:pt x="20" y="189"/>
                    <a:pt x="20" y="189"/>
                  </a:cubicBezTo>
                  <a:cubicBezTo>
                    <a:pt x="20" y="189"/>
                    <a:pt x="20" y="189"/>
                    <a:pt x="20" y="189"/>
                  </a:cubicBezTo>
                  <a:cubicBezTo>
                    <a:pt x="20" y="189"/>
                    <a:pt x="20" y="189"/>
                    <a:pt x="20" y="189"/>
                  </a:cubicBezTo>
                  <a:cubicBezTo>
                    <a:pt x="20" y="189"/>
                    <a:pt x="20" y="189"/>
                    <a:pt x="20" y="189"/>
                  </a:cubicBezTo>
                  <a:cubicBezTo>
                    <a:pt x="20" y="189"/>
                    <a:pt x="20" y="190"/>
                    <a:pt x="20" y="190"/>
                  </a:cubicBezTo>
                  <a:cubicBezTo>
                    <a:pt x="20" y="190"/>
                    <a:pt x="20" y="190"/>
                    <a:pt x="20" y="190"/>
                  </a:cubicBezTo>
                  <a:cubicBezTo>
                    <a:pt x="17" y="195"/>
                    <a:pt x="13" y="200"/>
                    <a:pt x="9" y="206"/>
                  </a:cubicBezTo>
                  <a:cubicBezTo>
                    <a:pt x="9" y="206"/>
                    <a:pt x="9" y="206"/>
                    <a:pt x="9" y="206"/>
                  </a:cubicBezTo>
                  <a:cubicBezTo>
                    <a:pt x="9" y="206"/>
                    <a:pt x="9" y="206"/>
                    <a:pt x="9" y="206"/>
                  </a:cubicBezTo>
                  <a:cubicBezTo>
                    <a:pt x="9" y="206"/>
                    <a:pt x="9" y="206"/>
                    <a:pt x="9" y="206"/>
                  </a:cubicBezTo>
                  <a:cubicBezTo>
                    <a:pt x="9" y="206"/>
                    <a:pt x="9" y="206"/>
                    <a:pt x="9" y="206"/>
                  </a:cubicBezTo>
                  <a:cubicBezTo>
                    <a:pt x="6" y="210"/>
                    <a:pt x="3" y="215"/>
                    <a:pt x="0" y="219"/>
                  </a:cubicBezTo>
                  <a:cubicBezTo>
                    <a:pt x="25" y="238"/>
                    <a:pt x="25" y="238"/>
                    <a:pt x="25" y="238"/>
                  </a:cubicBezTo>
                  <a:cubicBezTo>
                    <a:pt x="26" y="237"/>
                    <a:pt x="28" y="236"/>
                    <a:pt x="29" y="235"/>
                  </a:cubicBezTo>
                  <a:cubicBezTo>
                    <a:pt x="41" y="228"/>
                    <a:pt x="52" y="219"/>
                    <a:pt x="64" y="208"/>
                  </a:cubicBezTo>
                  <a:cubicBezTo>
                    <a:pt x="75" y="197"/>
                    <a:pt x="87" y="183"/>
                    <a:pt x="101" y="165"/>
                  </a:cubicBezTo>
                  <a:cubicBezTo>
                    <a:pt x="101" y="165"/>
                    <a:pt x="101" y="165"/>
                    <a:pt x="101" y="165"/>
                  </a:cubicBezTo>
                  <a:cubicBezTo>
                    <a:pt x="101" y="165"/>
                    <a:pt x="101" y="164"/>
                    <a:pt x="101" y="164"/>
                  </a:cubicBezTo>
                  <a:cubicBezTo>
                    <a:pt x="101" y="164"/>
                    <a:pt x="101" y="164"/>
                    <a:pt x="101" y="164"/>
                  </a:cubicBezTo>
                  <a:cubicBezTo>
                    <a:pt x="101" y="164"/>
                    <a:pt x="101" y="164"/>
                    <a:pt x="101" y="164"/>
                  </a:cubicBezTo>
                  <a:cubicBezTo>
                    <a:pt x="101" y="164"/>
                    <a:pt x="101" y="164"/>
                    <a:pt x="101" y="164"/>
                  </a:cubicBezTo>
                  <a:cubicBezTo>
                    <a:pt x="101" y="164"/>
                    <a:pt x="101" y="164"/>
                    <a:pt x="101" y="164"/>
                  </a:cubicBezTo>
                  <a:cubicBezTo>
                    <a:pt x="101" y="164"/>
                    <a:pt x="101" y="164"/>
                    <a:pt x="101" y="164"/>
                  </a:cubicBezTo>
                  <a:cubicBezTo>
                    <a:pt x="101" y="164"/>
                    <a:pt x="101" y="164"/>
                    <a:pt x="101" y="164"/>
                  </a:cubicBezTo>
                  <a:cubicBezTo>
                    <a:pt x="101" y="164"/>
                    <a:pt x="101" y="164"/>
                    <a:pt x="101" y="164"/>
                  </a:cubicBezTo>
                  <a:cubicBezTo>
                    <a:pt x="101" y="164"/>
                    <a:pt x="101" y="164"/>
                    <a:pt x="101" y="164"/>
                  </a:cubicBezTo>
                  <a:cubicBezTo>
                    <a:pt x="101" y="163"/>
                    <a:pt x="101" y="163"/>
                    <a:pt x="102" y="163"/>
                  </a:cubicBezTo>
                  <a:cubicBezTo>
                    <a:pt x="102" y="163"/>
                    <a:pt x="102" y="163"/>
                    <a:pt x="102" y="163"/>
                  </a:cubicBezTo>
                  <a:cubicBezTo>
                    <a:pt x="104" y="160"/>
                    <a:pt x="106" y="157"/>
                    <a:pt x="108" y="154"/>
                  </a:cubicBezTo>
                  <a:cubicBezTo>
                    <a:pt x="108" y="154"/>
                    <a:pt x="108" y="154"/>
                    <a:pt x="108" y="154"/>
                  </a:cubicBezTo>
                  <a:cubicBezTo>
                    <a:pt x="108" y="153"/>
                    <a:pt x="108" y="153"/>
                    <a:pt x="108" y="153"/>
                  </a:cubicBezTo>
                  <a:cubicBezTo>
                    <a:pt x="108" y="153"/>
                    <a:pt x="108" y="153"/>
                    <a:pt x="108" y="153"/>
                  </a:cubicBezTo>
                  <a:cubicBezTo>
                    <a:pt x="108" y="153"/>
                    <a:pt x="109" y="153"/>
                    <a:pt x="109" y="153"/>
                  </a:cubicBezTo>
                  <a:cubicBezTo>
                    <a:pt x="109" y="153"/>
                    <a:pt x="109" y="153"/>
                    <a:pt x="109" y="153"/>
                  </a:cubicBezTo>
                  <a:cubicBezTo>
                    <a:pt x="109" y="153"/>
                    <a:pt x="109" y="153"/>
                    <a:pt x="109" y="153"/>
                  </a:cubicBezTo>
                  <a:cubicBezTo>
                    <a:pt x="109" y="153"/>
                    <a:pt x="109" y="153"/>
                    <a:pt x="109" y="153"/>
                  </a:cubicBezTo>
                  <a:cubicBezTo>
                    <a:pt x="109" y="153"/>
                    <a:pt x="109" y="153"/>
                    <a:pt x="109" y="153"/>
                  </a:cubicBezTo>
                  <a:cubicBezTo>
                    <a:pt x="109" y="153"/>
                    <a:pt x="109" y="153"/>
                    <a:pt x="109" y="153"/>
                  </a:cubicBezTo>
                  <a:cubicBezTo>
                    <a:pt x="109" y="153"/>
                    <a:pt x="109" y="152"/>
                    <a:pt x="109" y="152"/>
                  </a:cubicBezTo>
                  <a:cubicBezTo>
                    <a:pt x="109" y="152"/>
                    <a:pt x="109" y="152"/>
                    <a:pt x="109" y="152"/>
                  </a:cubicBezTo>
                  <a:cubicBezTo>
                    <a:pt x="109" y="152"/>
                    <a:pt x="109" y="152"/>
                    <a:pt x="109" y="152"/>
                  </a:cubicBezTo>
                  <a:cubicBezTo>
                    <a:pt x="147" y="93"/>
                    <a:pt x="153" y="25"/>
                    <a:pt x="154" y="4"/>
                  </a:cubicBezTo>
                  <a:cubicBezTo>
                    <a:pt x="154" y="2"/>
                    <a:pt x="154" y="1"/>
                    <a:pt x="154" y="0"/>
                  </a:cubicBezTo>
                </a:path>
              </a:pathLst>
            </a:custGeom>
            <a:solidFill>
              <a:srgbClr val="B2760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2" name="Freeform 37">
              <a:extLst>
                <a:ext uri="{FF2B5EF4-FFF2-40B4-BE49-F238E27FC236}">
                  <a16:creationId xmlns:a16="http://schemas.microsoft.com/office/drawing/2014/main" id="{E5005F6C-6B43-2B42-BBBA-4762737C3DE7}"/>
                </a:ext>
              </a:extLst>
            </p:cNvPr>
            <p:cNvSpPr>
              <a:spLocks noEditPoints="1"/>
            </p:cNvSpPr>
            <p:nvPr/>
          </p:nvSpPr>
          <p:spPr bwMode="auto">
            <a:xfrm>
              <a:off x="11277247" y="1751632"/>
              <a:ext cx="71085" cy="426508"/>
            </a:xfrm>
            <a:custGeom>
              <a:avLst/>
              <a:gdLst>
                <a:gd name="T0" fmla="*/ 0 w 11"/>
                <a:gd name="T1" fmla="*/ 65 h 66"/>
                <a:gd name="T2" fmla="*/ 0 w 11"/>
                <a:gd name="T3" fmla="*/ 66 h 66"/>
                <a:gd name="T4" fmla="*/ 0 w 11"/>
                <a:gd name="T5" fmla="*/ 66 h 66"/>
                <a:gd name="T6" fmla="*/ 0 w 11"/>
                <a:gd name="T7" fmla="*/ 65 h 66"/>
                <a:gd name="T8" fmla="*/ 0 w 11"/>
                <a:gd name="T9" fmla="*/ 65 h 66"/>
                <a:gd name="T10" fmla="*/ 0 w 11"/>
                <a:gd name="T11" fmla="*/ 65 h 66"/>
                <a:gd name="T12" fmla="*/ 0 w 11"/>
                <a:gd name="T13" fmla="*/ 65 h 66"/>
                <a:gd name="T14" fmla="*/ 0 w 11"/>
                <a:gd name="T15" fmla="*/ 65 h 66"/>
                <a:gd name="T16" fmla="*/ 0 w 11"/>
                <a:gd name="T17" fmla="*/ 65 h 66"/>
                <a:gd name="T18" fmla="*/ 0 w 11"/>
                <a:gd name="T19" fmla="*/ 65 h 66"/>
                <a:gd name="T20" fmla="*/ 9 w 11"/>
                <a:gd name="T21" fmla="*/ 19 h 66"/>
                <a:gd name="T22" fmla="*/ 9 w 11"/>
                <a:gd name="T23" fmla="*/ 19 h 66"/>
                <a:gd name="T24" fmla="*/ 9 w 11"/>
                <a:gd name="T25" fmla="*/ 19 h 66"/>
                <a:gd name="T26" fmla="*/ 9 w 11"/>
                <a:gd name="T27" fmla="*/ 18 h 66"/>
                <a:gd name="T28" fmla="*/ 9 w 11"/>
                <a:gd name="T29" fmla="*/ 18 h 66"/>
                <a:gd name="T30" fmla="*/ 9 w 11"/>
                <a:gd name="T31" fmla="*/ 18 h 66"/>
                <a:gd name="T32" fmla="*/ 9 w 11"/>
                <a:gd name="T33" fmla="*/ 18 h 66"/>
                <a:gd name="T34" fmla="*/ 9 w 11"/>
                <a:gd name="T35" fmla="*/ 18 h 66"/>
                <a:gd name="T36" fmla="*/ 9 w 11"/>
                <a:gd name="T37" fmla="*/ 18 h 66"/>
                <a:gd name="T38" fmla="*/ 9 w 11"/>
                <a:gd name="T39" fmla="*/ 18 h 66"/>
                <a:gd name="T40" fmla="*/ 9 w 11"/>
                <a:gd name="T41" fmla="*/ 18 h 66"/>
                <a:gd name="T42" fmla="*/ 9 w 11"/>
                <a:gd name="T43" fmla="*/ 18 h 66"/>
                <a:gd name="T44" fmla="*/ 11 w 11"/>
                <a:gd name="T45" fmla="*/ 0 h 66"/>
                <a:gd name="T46" fmla="*/ 9 w 11"/>
                <a:gd name="T47" fmla="*/ 18 h 66"/>
                <a:gd name="T48" fmla="*/ 11 w 11"/>
                <a:gd name="T49" fmla="*/ 0 h 66"/>
                <a:gd name="T50" fmla="*/ 11 w 11"/>
                <a:gd name="T51" fmla="*/ 0 h 66"/>
                <a:gd name="T52" fmla="*/ 11 w 11"/>
                <a:gd name="T53" fmla="*/ 0 h 66"/>
                <a:gd name="T54" fmla="*/ 11 w 11"/>
                <a:gd name="T55"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 h="66">
                  <a:moveTo>
                    <a:pt x="0" y="65"/>
                  </a:moveTo>
                  <a:cubicBezTo>
                    <a:pt x="0" y="65"/>
                    <a:pt x="0" y="65"/>
                    <a:pt x="0" y="66"/>
                  </a:cubicBezTo>
                  <a:cubicBezTo>
                    <a:pt x="0" y="66"/>
                    <a:pt x="0" y="66"/>
                    <a:pt x="0" y="66"/>
                  </a:cubicBezTo>
                  <a:cubicBezTo>
                    <a:pt x="0" y="65"/>
                    <a:pt x="0" y="65"/>
                    <a:pt x="0" y="65"/>
                  </a:cubicBezTo>
                  <a:moveTo>
                    <a:pt x="0" y="65"/>
                  </a:moveTo>
                  <a:cubicBezTo>
                    <a:pt x="0" y="65"/>
                    <a:pt x="0" y="65"/>
                    <a:pt x="0" y="65"/>
                  </a:cubicBezTo>
                  <a:cubicBezTo>
                    <a:pt x="0" y="65"/>
                    <a:pt x="0" y="65"/>
                    <a:pt x="0" y="65"/>
                  </a:cubicBezTo>
                  <a:moveTo>
                    <a:pt x="0" y="65"/>
                  </a:moveTo>
                  <a:cubicBezTo>
                    <a:pt x="0" y="65"/>
                    <a:pt x="0" y="65"/>
                    <a:pt x="0" y="65"/>
                  </a:cubicBezTo>
                  <a:cubicBezTo>
                    <a:pt x="0" y="65"/>
                    <a:pt x="0" y="65"/>
                    <a:pt x="0" y="65"/>
                  </a:cubicBezTo>
                  <a:moveTo>
                    <a:pt x="9" y="19"/>
                  </a:moveTo>
                  <a:cubicBezTo>
                    <a:pt x="9" y="19"/>
                    <a:pt x="9" y="19"/>
                    <a:pt x="9" y="19"/>
                  </a:cubicBezTo>
                  <a:cubicBezTo>
                    <a:pt x="9" y="19"/>
                    <a:pt x="9" y="19"/>
                    <a:pt x="9" y="19"/>
                  </a:cubicBezTo>
                  <a:moveTo>
                    <a:pt x="9" y="18"/>
                  </a:moveTo>
                  <a:cubicBezTo>
                    <a:pt x="9" y="18"/>
                    <a:pt x="9" y="18"/>
                    <a:pt x="9" y="18"/>
                  </a:cubicBezTo>
                  <a:cubicBezTo>
                    <a:pt x="9" y="18"/>
                    <a:pt x="9" y="18"/>
                    <a:pt x="9" y="18"/>
                  </a:cubicBezTo>
                  <a:moveTo>
                    <a:pt x="9" y="18"/>
                  </a:moveTo>
                  <a:cubicBezTo>
                    <a:pt x="9" y="18"/>
                    <a:pt x="9" y="18"/>
                    <a:pt x="9" y="18"/>
                  </a:cubicBezTo>
                  <a:cubicBezTo>
                    <a:pt x="9" y="18"/>
                    <a:pt x="9" y="18"/>
                    <a:pt x="9" y="18"/>
                  </a:cubicBezTo>
                  <a:moveTo>
                    <a:pt x="9" y="18"/>
                  </a:moveTo>
                  <a:cubicBezTo>
                    <a:pt x="9" y="18"/>
                    <a:pt x="9" y="18"/>
                    <a:pt x="9" y="18"/>
                  </a:cubicBezTo>
                  <a:cubicBezTo>
                    <a:pt x="9" y="18"/>
                    <a:pt x="9" y="18"/>
                    <a:pt x="9" y="18"/>
                  </a:cubicBezTo>
                  <a:moveTo>
                    <a:pt x="11" y="0"/>
                  </a:moveTo>
                  <a:cubicBezTo>
                    <a:pt x="10" y="5"/>
                    <a:pt x="10" y="11"/>
                    <a:pt x="9" y="18"/>
                  </a:cubicBezTo>
                  <a:cubicBezTo>
                    <a:pt x="10" y="11"/>
                    <a:pt x="10" y="5"/>
                    <a:pt x="11" y="0"/>
                  </a:cubicBezTo>
                  <a:moveTo>
                    <a:pt x="11" y="0"/>
                  </a:moveTo>
                  <a:cubicBezTo>
                    <a:pt x="11" y="0"/>
                    <a:pt x="11" y="0"/>
                    <a:pt x="11" y="0"/>
                  </a:cubicBezTo>
                  <a:cubicBezTo>
                    <a:pt x="11" y="0"/>
                    <a:pt x="11" y="0"/>
                    <a:pt x="11" y="0"/>
                  </a:cubicBezTo>
                </a:path>
              </a:pathLst>
            </a:custGeom>
            <a:solidFill>
              <a:srgbClr val="F19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3" name="Freeform 38">
              <a:extLst>
                <a:ext uri="{FF2B5EF4-FFF2-40B4-BE49-F238E27FC236}">
                  <a16:creationId xmlns:a16="http://schemas.microsoft.com/office/drawing/2014/main" id="{27E1DC9B-A6EB-F646-A255-16B90401F54B}"/>
                </a:ext>
              </a:extLst>
            </p:cNvPr>
            <p:cNvSpPr>
              <a:spLocks noEditPoints="1"/>
            </p:cNvSpPr>
            <p:nvPr/>
          </p:nvSpPr>
          <p:spPr bwMode="auto">
            <a:xfrm>
              <a:off x="10410560" y="2776892"/>
              <a:ext cx="133967" cy="251531"/>
            </a:xfrm>
            <a:custGeom>
              <a:avLst/>
              <a:gdLst>
                <a:gd name="T0" fmla="*/ 0 w 21"/>
                <a:gd name="T1" fmla="*/ 39 h 39"/>
                <a:gd name="T2" fmla="*/ 0 w 21"/>
                <a:gd name="T3" fmla="*/ 39 h 39"/>
                <a:gd name="T4" fmla="*/ 0 w 21"/>
                <a:gd name="T5" fmla="*/ 39 h 39"/>
                <a:gd name="T6" fmla="*/ 0 w 21"/>
                <a:gd name="T7" fmla="*/ 39 h 39"/>
                <a:gd name="T8" fmla="*/ 0 w 21"/>
                <a:gd name="T9" fmla="*/ 39 h 39"/>
                <a:gd name="T10" fmla="*/ 0 w 21"/>
                <a:gd name="T11" fmla="*/ 39 h 39"/>
                <a:gd name="T12" fmla="*/ 11 w 21"/>
                <a:gd name="T13" fmla="*/ 23 h 39"/>
                <a:gd name="T14" fmla="*/ 0 w 21"/>
                <a:gd name="T15" fmla="*/ 39 h 39"/>
                <a:gd name="T16" fmla="*/ 11 w 21"/>
                <a:gd name="T17" fmla="*/ 23 h 39"/>
                <a:gd name="T18" fmla="*/ 11 w 21"/>
                <a:gd name="T19" fmla="*/ 22 h 39"/>
                <a:gd name="T20" fmla="*/ 11 w 21"/>
                <a:gd name="T21" fmla="*/ 23 h 39"/>
                <a:gd name="T22" fmla="*/ 11 w 21"/>
                <a:gd name="T23" fmla="*/ 22 h 39"/>
                <a:gd name="T24" fmla="*/ 11 w 21"/>
                <a:gd name="T25" fmla="*/ 22 h 39"/>
                <a:gd name="T26" fmla="*/ 11 w 21"/>
                <a:gd name="T27" fmla="*/ 22 h 39"/>
                <a:gd name="T28" fmla="*/ 11 w 21"/>
                <a:gd name="T29" fmla="*/ 22 h 39"/>
                <a:gd name="T30" fmla="*/ 11 w 21"/>
                <a:gd name="T31" fmla="*/ 22 h 39"/>
                <a:gd name="T32" fmla="*/ 11 w 21"/>
                <a:gd name="T33" fmla="*/ 22 h 39"/>
                <a:gd name="T34" fmla="*/ 11 w 21"/>
                <a:gd name="T35" fmla="*/ 22 h 39"/>
                <a:gd name="T36" fmla="*/ 21 w 21"/>
                <a:gd name="T37" fmla="*/ 0 h 39"/>
                <a:gd name="T38" fmla="*/ 21 w 21"/>
                <a:gd name="T39" fmla="*/ 0 h 39"/>
                <a:gd name="T40" fmla="*/ 21 w 21"/>
                <a:gd name="T41" fmla="*/ 0 h 39"/>
                <a:gd name="T42" fmla="*/ 21 w 21"/>
                <a:gd name="T43" fmla="*/ 0 h 39"/>
                <a:gd name="T44" fmla="*/ 21 w 21"/>
                <a:gd name="T45" fmla="*/ 0 h 39"/>
                <a:gd name="T46" fmla="*/ 21 w 21"/>
                <a:gd name="T47" fmla="*/ 0 h 39"/>
                <a:gd name="T48" fmla="*/ 21 w 21"/>
                <a:gd name="T49" fmla="*/ 0 h 39"/>
                <a:gd name="T50" fmla="*/ 21 w 21"/>
                <a:gd name="T51" fmla="*/ 0 h 39"/>
                <a:gd name="T52" fmla="*/ 21 w 21"/>
                <a:gd name="T53" fmla="*/ 0 h 39"/>
                <a:gd name="T54" fmla="*/ 21 w 21"/>
                <a:gd name="T55" fmla="*/ 0 h 39"/>
                <a:gd name="T56" fmla="*/ 21 w 21"/>
                <a:gd name="T57" fmla="*/ 0 h 39"/>
                <a:gd name="T58" fmla="*/ 21 w 21"/>
                <a:gd name="T59" fmla="*/ 0 h 39"/>
                <a:gd name="T60" fmla="*/ 21 w 21"/>
                <a:gd name="T61" fmla="*/ 0 h 39"/>
                <a:gd name="T62" fmla="*/ 21 w 21"/>
                <a:gd name="T63" fmla="*/ 0 h 39"/>
                <a:gd name="T64" fmla="*/ 21 w 21"/>
                <a:gd name="T65" fmla="*/ 0 h 39"/>
                <a:gd name="T66" fmla="*/ 21 w 21"/>
                <a:gd name="T67" fmla="*/ 0 h 39"/>
                <a:gd name="T68" fmla="*/ 21 w 21"/>
                <a:gd name="T69" fmla="*/ 0 h 39"/>
                <a:gd name="T70" fmla="*/ 21 w 21"/>
                <a:gd name="T71" fmla="*/ 0 h 39"/>
                <a:gd name="T72" fmla="*/ 21 w 21"/>
                <a:gd name="T73" fmla="*/ 0 h 39"/>
                <a:gd name="T74" fmla="*/ 21 w 21"/>
                <a:gd name="T75" fmla="*/ 0 h 39"/>
                <a:gd name="T76" fmla="*/ 21 w 21"/>
                <a:gd name="T77" fmla="*/ 0 h 39"/>
                <a:gd name="T78" fmla="*/ 21 w 21"/>
                <a:gd name="T79" fmla="*/ 0 h 39"/>
                <a:gd name="T80" fmla="*/ 21 w 21"/>
                <a:gd name="T81" fmla="*/ 0 h 39"/>
                <a:gd name="T82" fmla="*/ 21 w 21"/>
                <a:gd name="T83" fmla="*/ 0 h 39"/>
                <a:gd name="T84" fmla="*/ 21 w 21"/>
                <a:gd name="T85" fmla="*/ 0 h 39"/>
                <a:gd name="T86" fmla="*/ 21 w 21"/>
                <a:gd name="T87" fmla="*/ 0 h 39"/>
                <a:gd name="T88" fmla="*/ 21 w 21"/>
                <a:gd name="T89" fmla="*/ 0 h 39"/>
                <a:gd name="T90" fmla="*/ 21 w 21"/>
                <a:gd name="T91" fmla="*/ 0 h 39"/>
                <a:gd name="T92" fmla="*/ 21 w 21"/>
                <a:gd name="T93" fmla="*/ 0 h 39"/>
                <a:gd name="T94" fmla="*/ 21 w 21"/>
                <a:gd name="T95" fmla="*/ 0 h 39"/>
                <a:gd name="T96" fmla="*/ 21 w 21"/>
                <a:gd name="T97" fmla="*/ 0 h 39"/>
                <a:gd name="T98" fmla="*/ 21 w 21"/>
                <a:gd name="T99" fmla="*/ 0 h 39"/>
                <a:gd name="T100" fmla="*/ 21 w 21"/>
                <a:gd name="T101" fmla="*/ 0 h 39"/>
                <a:gd name="T102" fmla="*/ 21 w 21"/>
                <a:gd name="T103" fmla="*/ 0 h 39"/>
                <a:gd name="T104" fmla="*/ 21 w 21"/>
                <a:gd name="T105" fmla="*/ 0 h 39"/>
                <a:gd name="T106" fmla="*/ 21 w 21"/>
                <a:gd name="T107" fmla="*/ 0 h 39"/>
                <a:gd name="T108" fmla="*/ 21 w 21"/>
                <a:gd name="T109" fmla="*/ 0 h 39"/>
                <a:gd name="T110" fmla="*/ 21 w 21"/>
                <a:gd name="T111" fmla="*/ 0 h 39"/>
                <a:gd name="T112" fmla="*/ 21 w 21"/>
                <a:gd name="T11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 h="39">
                  <a:moveTo>
                    <a:pt x="0" y="39"/>
                  </a:moveTo>
                  <a:cubicBezTo>
                    <a:pt x="0" y="39"/>
                    <a:pt x="0" y="39"/>
                    <a:pt x="0" y="39"/>
                  </a:cubicBezTo>
                  <a:cubicBezTo>
                    <a:pt x="0" y="39"/>
                    <a:pt x="0" y="39"/>
                    <a:pt x="0" y="39"/>
                  </a:cubicBezTo>
                  <a:moveTo>
                    <a:pt x="0" y="39"/>
                  </a:moveTo>
                  <a:cubicBezTo>
                    <a:pt x="0" y="39"/>
                    <a:pt x="0" y="39"/>
                    <a:pt x="0" y="39"/>
                  </a:cubicBezTo>
                  <a:cubicBezTo>
                    <a:pt x="0" y="39"/>
                    <a:pt x="0" y="39"/>
                    <a:pt x="0" y="39"/>
                  </a:cubicBezTo>
                  <a:moveTo>
                    <a:pt x="11" y="23"/>
                  </a:moveTo>
                  <a:cubicBezTo>
                    <a:pt x="8" y="28"/>
                    <a:pt x="4" y="33"/>
                    <a:pt x="0" y="39"/>
                  </a:cubicBezTo>
                  <a:cubicBezTo>
                    <a:pt x="4" y="33"/>
                    <a:pt x="8" y="28"/>
                    <a:pt x="11" y="23"/>
                  </a:cubicBezTo>
                  <a:moveTo>
                    <a:pt x="11" y="22"/>
                  </a:moveTo>
                  <a:cubicBezTo>
                    <a:pt x="11" y="22"/>
                    <a:pt x="11" y="23"/>
                    <a:pt x="11" y="23"/>
                  </a:cubicBezTo>
                  <a:cubicBezTo>
                    <a:pt x="11" y="23"/>
                    <a:pt x="11" y="22"/>
                    <a:pt x="11" y="22"/>
                  </a:cubicBezTo>
                  <a:moveTo>
                    <a:pt x="11" y="22"/>
                  </a:moveTo>
                  <a:cubicBezTo>
                    <a:pt x="11" y="22"/>
                    <a:pt x="11" y="22"/>
                    <a:pt x="11" y="22"/>
                  </a:cubicBezTo>
                  <a:cubicBezTo>
                    <a:pt x="11" y="22"/>
                    <a:pt x="11" y="22"/>
                    <a:pt x="11" y="22"/>
                  </a:cubicBezTo>
                  <a:moveTo>
                    <a:pt x="11" y="22"/>
                  </a:moveTo>
                  <a:cubicBezTo>
                    <a:pt x="11" y="22"/>
                    <a:pt x="11" y="22"/>
                    <a:pt x="11" y="22"/>
                  </a:cubicBezTo>
                  <a:cubicBezTo>
                    <a:pt x="11" y="22"/>
                    <a:pt x="11" y="22"/>
                    <a:pt x="11" y="22"/>
                  </a:cubicBezTo>
                  <a:moveTo>
                    <a:pt x="21" y="0"/>
                  </a:moveTo>
                  <a:cubicBezTo>
                    <a:pt x="21" y="0"/>
                    <a:pt x="21" y="0"/>
                    <a:pt x="21" y="0"/>
                  </a:cubicBezTo>
                  <a:cubicBezTo>
                    <a:pt x="21" y="0"/>
                    <a:pt x="21" y="0"/>
                    <a:pt x="21" y="0"/>
                  </a:cubicBezTo>
                  <a:moveTo>
                    <a:pt x="21" y="0"/>
                  </a:moveTo>
                  <a:cubicBezTo>
                    <a:pt x="21" y="0"/>
                    <a:pt x="21" y="0"/>
                    <a:pt x="21" y="0"/>
                  </a:cubicBezTo>
                  <a:cubicBezTo>
                    <a:pt x="21" y="0"/>
                    <a:pt x="21" y="0"/>
                    <a:pt x="21" y="0"/>
                  </a:cubicBezTo>
                  <a:moveTo>
                    <a:pt x="21" y="0"/>
                  </a:moveTo>
                  <a:cubicBezTo>
                    <a:pt x="21" y="0"/>
                    <a:pt x="21" y="0"/>
                    <a:pt x="21" y="0"/>
                  </a:cubicBezTo>
                  <a:cubicBezTo>
                    <a:pt x="21" y="0"/>
                    <a:pt x="21" y="0"/>
                    <a:pt x="21" y="0"/>
                  </a:cubicBezTo>
                  <a:moveTo>
                    <a:pt x="21" y="0"/>
                  </a:moveTo>
                  <a:cubicBezTo>
                    <a:pt x="21" y="0"/>
                    <a:pt x="21" y="0"/>
                    <a:pt x="21" y="0"/>
                  </a:cubicBezTo>
                  <a:cubicBezTo>
                    <a:pt x="21" y="0"/>
                    <a:pt x="21" y="0"/>
                    <a:pt x="21" y="0"/>
                  </a:cubicBezTo>
                  <a:moveTo>
                    <a:pt x="21" y="0"/>
                  </a:moveTo>
                  <a:cubicBezTo>
                    <a:pt x="21" y="0"/>
                    <a:pt x="21" y="0"/>
                    <a:pt x="21" y="0"/>
                  </a:cubicBezTo>
                  <a:cubicBezTo>
                    <a:pt x="21" y="0"/>
                    <a:pt x="21" y="0"/>
                    <a:pt x="21" y="0"/>
                  </a:cubicBezTo>
                  <a:moveTo>
                    <a:pt x="21" y="0"/>
                  </a:moveTo>
                  <a:cubicBezTo>
                    <a:pt x="21" y="0"/>
                    <a:pt x="21" y="0"/>
                    <a:pt x="21" y="0"/>
                  </a:cubicBezTo>
                  <a:cubicBezTo>
                    <a:pt x="21" y="0"/>
                    <a:pt x="21" y="0"/>
                    <a:pt x="21" y="0"/>
                  </a:cubicBezTo>
                  <a:moveTo>
                    <a:pt x="21" y="0"/>
                  </a:moveTo>
                  <a:cubicBezTo>
                    <a:pt x="21" y="0"/>
                    <a:pt x="21" y="0"/>
                    <a:pt x="21" y="0"/>
                  </a:cubicBezTo>
                  <a:cubicBezTo>
                    <a:pt x="21" y="0"/>
                    <a:pt x="21" y="0"/>
                    <a:pt x="21" y="0"/>
                  </a:cubicBezTo>
                  <a:moveTo>
                    <a:pt x="21" y="0"/>
                  </a:moveTo>
                  <a:cubicBezTo>
                    <a:pt x="21" y="0"/>
                    <a:pt x="21" y="0"/>
                    <a:pt x="21" y="0"/>
                  </a:cubicBezTo>
                  <a:cubicBezTo>
                    <a:pt x="21" y="0"/>
                    <a:pt x="21" y="0"/>
                    <a:pt x="21" y="0"/>
                  </a:cubicBezTo>
                  <a:moveTo>
                    <a:pt x="21" y="0"/>
                  </a:moveTo>
                  <a:cubicBezTo>
                    <a:pt x="21" y="0"/>
                    <a:pt x="21" y="0"/>
                    <a:pt x="21" y="0"/>
                  </a:cubicBezTo>
                  <a:cubicBezTo>
                    <a:pt x="21" y="0"/>
                    <a:pt x="21" y="0"/>
                    <a:pt x="21" y="0"/>
                  </a:cubicBezTo>
                  <a:moveTo>
                    <a:pt x="21" y="0"/>
                  </a:moveTo>
                  <a:cubicBezTo>
                    <a:pt x="21" y="0"/>
                    <a:pt x="21" y="0"/>
                    <a:pt x="21" y="0"/>
                  </a:cubicBezTo>
                  <a:cubicBezTo>
                    <a:pt x="21" y="0"/>
                    <a:pt x="21" y="0"/>
                    <a:pt x="21" y="0"/>
                  </a:cubicBezTo>
                  <a:moveTo>
                    <a:pt x="21" y="0"/>
                  </a:moveTo>
                  <a:cubicBezTo>
                    <a:pt x="21" y="0"/>
                    <a:pt x="21" y="0"/>
                    <a:pt x="21" y="0"/>
                  </a:cubicBezTo>
                  <a:cubicBezTo>
                    <a:pt x="21" y="0"/>
                    <a:pt x="21" y="0"/>
                    <a:pt x="21" y="0"/>
                  </a:cubicBezTo>
                  <a:moveTo>
                    <a:pt x="21" y="0"/>
                  </a:moveTo>
                  <a:cubicBezTo>
                    <a:pt x="21" y="0"/>
                    <a:pt x="21" y="0"/>
                    <a:pt x="21" y="0"/>
                  </a:cubicBezTo>
                  <a:cubicBezTo>
                    <a:pt x="21" y="0"/>
                    <a:pt x="21" y="0"/>
                    <a:pt x="21" y="0"/>
                  </a:cubicBezTo>
                  <a:moveTo>
                    <a:pt x="21" y="0"/>
                  </a:moveTo>
                  <a:cubicBezTo>
                    <a:pt x="21" y="0"/>
                    <a:pt x="21" y="0"/>
                    <a:pt x="21" y="0"/>
                  </a:cubicBezTo>
                  <a:cubicBezTo>
                    <a:pt x="21" y="0"/>
                    <a:pt x="21" y="0"/>
                    <a:pt x="21" y="0"/>
                  </a:cubicBezTo>
                </a:path>
              </a:pathLst>
            </a:custGeom>
            <a:solidFill>
              <a:srgbClr val="005F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4" name="Freeform 39">
              <a:extLst>
                <a:ext uri="{FF2B5EF4-FFF2-40B4-BE49-F238E27FC236}">
                  <a16:creationId xmlns:a16="http://schemas.microsoft.com/office/drawing/2014/main" id="{F143C6A8-6BF1-5540-8C2F-03E8C5FF84CE}"/>
                </a:ext>
              </a:extLst>
            </p:cNvPr>
            <p:cNvSpPr>
              <a:spLocks/>
            </p:cNvSpPr>
            <p:nvPr/>
          </p:nvSpPr>
          <p:spPr bwMode="auto">
            <a:xfrm>
              <a:off x="10421497" y="3279953"/>
              <a:ext cx="8202"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1" y="0"/>
                    <a:pt x="1" y="0"/>
                    <a:pt x="1" y="0"/>
                  </a:cubicBezTo>
                </a:path>
              </a:pathLst>
            </a:custGeom>
            <a:solidFill>
              <a:srgbClr val="FCFD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5" name="Freeform 40">
              <a:extLst>
                <a:ext uri="{FF2B5EF4-FFF2-40B4-BE49-F238E27FC236}">
                  <a16:creationId xmlns:a16="http://schemas.microsoft.com/office/drawing/2014/main" id="{6F504BE3-49DC-0346-A54A-4AEEFAD6C751}"/>
                </a:ext>
              </a:extLst>
            </p:cNvPr>
            <p:cNvSpPr>
              <a:spLocks/>
            </p:cNvSpPr>
            <p:nvPr/>
          </p:nvSpPr>
          <p:spPr bwMode="auto">
            <a:xfrm>
              <a:off x="10421497" y="3260815"/>
              <a:ext cx="46478" cy="19138"/>
            </a:xfrm>
            <a:custGeom>
              <a:avLst/>
              <a:gdLst>
                <a:gd name="T0" fmla="*/ 7 w 7"/>
                <a:gd name="T1" fmla="*/ 0 h 3"/>
                <a:gd name="T2" fmla="*/ 0 w 7"/>
                <a:gd name="T3" fmla="*/ 3 h 3"/>
                <a:gd name="T4" fmla="*/ 0 w 7"/>
                <a:gd name="T5" fmla="*/ 3 h 3"/>
                <a:gd name="T6" fmla="*/ 1 w 7"/>
                <a:gd name="T7" fmla="*/ 3 h 3"/>
                <a:gd name="T8" fmla="*/ 7 w 7"/>
                <a:gd name="T9" fmla="*/ 0 h 3"/>
              </a:gdLst>
              <a:ahLst/>
              <a:cxnLst>
                <a:cxn ang="0">
                  <a:pos x="T0" y="T1"/>
                </a:cxn>
                <a:cxn ang="0">
                  <a:pos x="T2" y="T3"/>
                </a:cxn>
                <a:cxn ang="0">
                  <a:pos x="T4" y="T5"/>
                </a:cxn>
                <a:cxn ang="0">
                  <a:pos x="T6" y="T7"/>
                </a:cxn>
                <a:cxn ang="0">
                  <a:pos x="T8" y="T9"/>
                </a:cxn>
              </a:cxnLst>
              <a:rect l="0" t="0" r="r" b="b"/>
              <a:pathLst>
                <a:path w="7" h="3">
                  <a:moveTo>
                    <a:pt x="7" y="0"/>
                  </a:moveTo>
                  <a:cubicBezTo>
                    <a:pt x="5" y="1"/>
                    <a:pt x="2" y="2"/>
                    <a:pt x="0" y="3"/>
                  </a:cubicBezTo>
                  <a:cubicBezTo>
                    <a:pt x="0" y="3"/>
                    <a:pt x="0" y="3"/>
                    <a:pt x="0" y="3"/>
                  </a:cubicBezTo>
                  <a:cubicBezTo>
                    <a:pt x="1" y="3"/>
                    <a:pt x="1" y="3"/>
                    <a:pt x="1" y="3"/>
                  </a:cubicBezTo>
                  <a:cubicBezTo>
                    <a:pt x="3" y="2"/>
                    <a:pt x="5" y="1"/>
                    <a:pt x="7" y="0"/>
                  </a:cubicBezTo>
                </a:path>
              </a:pathLst>
            </a:custGeom>
            <a:solidFill>
              <a:srgbClr val="006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6" name="Freeform 41">
              <a:extLst>
                <a:ext uri="{FF2B5EF4-FFF2-40B4-BE49-F238E27FC236}">
                  <a16:creationId xmlns:a16="http://schemas.microsoft.com/office/drawing/2014/main" id="{E175F774-9BF3-E04F-8140-CA7F0DA6EE57}"/>
                </a:ext>
              </a:extLst>
            </p:cNvPr>
            <p:cNvSpPr>
              <a:spLocks/>
            </p:cNvSpPr>
            <p:nvPr/>
          </p:nvSpPr>
          <p:spPr bwMode="auto">
            <a:xfrm>
              <a:off x="10506251" y="3236209"/>
              <a:ext cx="8202" cy="5468"/>
            </a:xfrm>
            <a:custGeom>
              <a:avLst/>
              <a:gdLst>
                <a:gd name="T0" fmla="*/ 1 w 1"/>
                <a:gd name="T1" fmla="*/ 0 h 1"/>
                <a:gd name="T2" fmla="*/ 0 w 1"/>
                <a:gd name="T3" fmla="*/ 1 h 1"/>
                <a:gd name="T4" fmla="*/ 0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0" y="0"/>
                    <a:pt x="0" y="0"/>
                    <a:pt x="0" y="1"/>
                  </a:cubicBezTo>
                  <a:cubicBezTo>
                    <a:pt x="0" y="1"/>
                    <a:pt x="0" y="1"/>
                    <a:pt x="0" y="1"/>
                  </a:cubicBezTo>
                  <a:cubicBezTo>
                    <a:pt x="0" y="0"/>
                    <a:pt x="0" y="0"/>
                    <a:pt x="1" y="0"/>
                  </a:cubicBezTo>
                </a:path>
              </a:pathLst>
            </a:custGeom>
            <a:solidFill>
              <a:srgbClr val="FCFD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7" name="Freeform 42">
              <a:extLst>
                <a:ext uri="{FF2B5EF4-FFF2-40B4-BE49-F238E27FC236}">
                  <a16:creationId xmlns:a16="http://schemas.microsoft.com/office/drawing/2014/main" id="{EFC64212-BC9A-AA41-8D12-9CFF851499D2}"/>
                </a:ext>
              </a:extLst>
            </p:cNvPr>
            <p:cNvSpPr>
              <a:spLocks/>
            </p:cNvSpPr>
            <p:nvPr/>
          </p:nvSpPr>
          <p:spPr bwMode="auto">
            <a:xfrm>
              <a:off x="10500783" y="3241677"/>
              <a:ext cx="5468" cy="0"/>
            </a:xfrm>
            <a:custGeom>
              <a:avLst/>
              <a:gdLst>
                <a:gd name="T0" fmla="*/ 1 w 1"/>
                <a:gd name="T1" fmla="*/ 0 w 1"/>
                <a:gd name="T2" fmla="*/ 0 w 1"/>
                <a:gd name="T3" fmla="*/ 1 w 1"/>
                <a:gd name="T4" fmla="*/ 1 w 1"/>
              </a:gdLst>
              <a:ahLst/>
              <a:cxnLst>
                <a:cxn ang="0">
                  <a:pos x="T0" y="0"/>
                </a:cxn>
                <a:cxn ang="0">
                  <a:pos x="T1" y="0"/>
                </a:cxn>
                <a:cxn ang="0">
                  <a:pos x="T2" y="0"/>
                </a:cxn>
                <a:cxn ang="0">
                  <a:pos x="T3" y="0"/>
                </a:cxn>
                <a:cxn ang="0">
                  <a:pos x="T4" y="0"/>
                </a:cxn>
              </a:cxnLst>
              <a:rect l="0" t="0" r="r" b="b"/>
              <a:pathLst>
                <a:path w="1">
                  <a:moveTo>
                    <a:pt x="1" y="0"/>
                  </a:moveTo>
                  <a:cubicBezTo>
                    <a:pt x="0" y="0"/>
                    <a:pt x="0" y="0"/>
                    <a:pt x="0" y="0"/>
                  </a:cubicBezTo>
                  <a:cubicBezTo>
                    <a:pt x="0" y="0"/>
                    <a:pt x="0" y="0"/>
                    <a:pt x="0" y="0"/>
                  </a:cubicBezTo>
                  <a:cubicBezTo>
                    <a:pt x="0" y="0"/>
                    <a:pt x="0" y="0"/>
                    <a:pt x="1" y="0"/>
                  </a:cubicBezTo>
                  <a:cubicBezTo>
                    <a:pt x="1" y="0"/>
                    <a:pt x="1" y="0"/>
                    <a:pt x="1" y="0"/>
                  </a:cubicBezTo>
                </a:path>
              </a:pathLst>
            </a:custGeom>
            <a:solidFill>
              <a:srgbClr val="EEEF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8" name="Freeform 43">
              <a:extLst>
                <a:ext uri="{FF2B5EF4-FFF2-40B4-BE49-F238E27FC236}">
                  <a16:creationId xmlns:a16="http://schemas.microsoft.com/office/drawing/2014/main" id="{59F974B0-9A48-EF44-946E-2929DB58BA3D}"/>
                </a:ext>
              </a:extLst>
            </p:cNvPr>
            <p:cNvSpPr>
              <a:spLocks/>
            </p:cNvSpPr>
            <p:nvPr/>
          </p:nvSpPr>
          <p:spPr bwMode="auto">
            <a:xfrm>
              <a:off x="10467975" y="3241677"/>
              <a:ext cx="32808" cy="19138"/>
            </a:xfrm>
            <a:custGeom>
              <a:avLst/>
              <a:gdLst>
                <a:gd name="T0" fmla="*/ 5 w 5"/>
                <a:gd name="T1" fmla="*/ 0 h 3"/>
                <a:gd name="T2" fmla="*/ 0 w 5"/>
                <a:gd name="T3" fmla="*/ 3 h 3"/>
                <a:gd name="T4" fmla="*/ 5 w 5"/>
                <a:gd name="T5" fmla="*/ 0 h 3"/>
                <a:gd name="T6" fmla="*/ 5 w 5"/>
                <a:gd name="T7" fmla="*/ 0 h 3"/>
              </a:gdLst>
              <a:ahLst/>
              <a:cxnLst>
                <a:cxn ang="0">
                  <a:pos x="T0" y="T1"/>
                </a:cxn>
                <a:cxn ang="0">
                  <a:pos x="T2" y="T3"/>
                </a:cxn>
                <a:cxn ang="0">
                  <a:pos x="T4" y="T5"/>
                </a:cxn>
                <a:cxn ang="0">
                  <a:pos x="T6" y="T7"/>
                </a:cxn>
              </a:cxnLst>
              <a:rect l="0" t="0" r="r" b="b"/>
              <a:pathLst>
                <a:path w="5" h="3">
                  <a:moveTo>
                    <a:pt x="5" y="0"/>
                  </a:moveTo>
                  <a:cubicBezTo>
                    <a:pt x="3" y="1"/>
                    <a:pt x="2" y="2"/>
                    <a:pt x="0" y="3"/>
                  </a:cubicBezTo>
                  <a:cubicBezTo>
                    <a:pt x="2" y="2"/>
                    <a:pt x="3" y="1"/>
                    <a:pt x="5" y="0"/>
                  </a:cubicBezTo>
                  <a:cubicBezTo>
                    <a:pt x="5" y="0"/>
                    <a:pt x="5" y="0"/>
                    <a:pt x="5" y="0"/>
                  </a:cubicBezTo>
                </a:path>
              </a:pathLst>
            </a:custGeom>
            <a:solidFill>
              <a:srgbClr val="006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9" name="Freeform 44">
              <a:extLst>
                <a:ext uri="{FF2B5EF4-FFF2-40B4-BE49-F238E27FC236}">
                  <a16:creationId xmlns:a16="http://schemas.microsoft.com/office/drawing/2014/main" id="{1711387F-A2CD-514C-8A17-48F12EC4429D}"/>
                </a:ext>
              </a:extLst>
            </p:cNvPr>
            <p:cNvSpPr>
              <a:spLocks noEditPoints="1"/>
            </p:cNvSpPr>
            <p:nvPr/>
          </p:nvSpPr>
          <p:spPr bwMode="auto">
            <a:xfrm>
              <a:off x="11348332" y="1675079"/>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path>
              </a:pathLst>
            </a:custGeom>
            <a:solidFill>
              <a:srgbClr val="FFA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0" name="Freeform 45">
              <a:extLst>
                <a:ext uri="{FF2B5EF4-FFF2-40B4-BE49-F238E27FC236}">
                  <a16:creationId xmlns:a16="http://schemas.microsoft.com/office/drawing/2014/main" id="{A990C422-2D23-1043-9E50-AA013BAC1E93}"/>
                </a:ext>
              </a:extLst>
            </p:cNvPr>
            <p:cNvSpPr>
              <a:spLocks noEditPoints="1"/>
            </p:cNvSpPr>
            <p:nvPr/>
          </p:nvSpPr>
          <p:spPr bwMode="auto">
            <a:xfrm>
              <a:off x="11083131" y="1675079"/>
              <a:ext cx="265201" cy="503061"/>
            </a:xfrm>
            <a:custGeom>
              <a:avLst/>
              <a:gdLst>
                <a:gd name="T0" fmla="*/ 30 w 41"/>
                <a:gd name="T1" fmla="*/ 77 h 78"/>
                <a:gd name="T2" fmla="*/ 30 w 41"/>
                <a:gd name="T3" fmla="*/ 77 h 78"/>
                <a:gd name="T4" fmla="*/ 30 w 41"/>
                <a:gd name="T5" fmla="*/ 77 h 78"/>
                <a:gd name="T6" fmla="*/ 30 w 41"/>
                <a:gd name="T7" fmla="*/ 77 h 78"/>
                <a:gd name="T8" fmla="*/ 30 w 41"/>
                <a:gd name="T9" fmla="*/ 77 h 78"/>
                <a:gd name="T10" fmla="*/ 30 w 41"/>
                <a:gd name="T11" fmla="*/ 77 h 78"/>
                <a:gd name="T12" fmla="*/ 0 w 41"/>
                <a:gd name="T13" fmla="*/ 56 h 78"/>
                <a:gd name="T14" fmla="*/ 0 w 41"/>
                <a:gd name="T15" fmla="*/ 56 h 78"/>
                <a:gd name="T16" fmla="*/ 30 w 41"/>
                <a:gd name="T17" fmla="*/ 78 h 78"/>
                <a:gd name="T18" fmla="*/ 0 w 41"/>
                <a:gd name="T19" fmla="*/ 56 h 78"/>
                <a:gd name="T20" fmla="*/ 39 w 41"/>
                <a:gd name="T21" fmla="*/ 31 h 78"/>
                <a:gd name="T22" fmla="*/ 30 w 41"/>
                <a:gd name="T23" fmla="*/ 77 h 78"/>
                <a:gd name="T24" fmla="*/ 39 w 41"/>
                <a:gd name="T25" fmla="*/ 31 h 78"/>
                <a:gd name="T26" fmla="*/ 39 w 41"/>
                <a:gd name="T27" fmla="*/ 30 h 78"/>
                <a:gd name="T28" fmla="*/ 39 w 41"/>
                <a:gd name="T29" fmla="*/ 31 h 78"/>
                <a:gd name="T30" fmla="*/ 39 w 41"/>
                <a:gd name="T31" fmla="*/ 30 h 78"/>
                <a:gd name="T32" fmla="*/ 39 w 41"/>
                <a:gd name="T33" fmla="*/ 30 h 78"/>
                <a:gd name="T34" fmla="*/ 39 w 41"/>
                <a:gd name="T35" fmla="*/ 30 h 78"/>
                <a:gd name="T36" fmla="*/ 39 w 41"/>
                <a:gd name="T37" fmla="*/ 30 h 78"/>
                <a:gd name="T38" fmla="*/ 39 w 41"/>
                <a:gd name="T39" fmla="*/ 30 h 78"/>
                <a:gd name="T40" fmla="*/ 39 w 41"/>
                <a:gd name="T41" fmla="*/ 30 h 78"/>
                <a:gd name="T42" fmla="*/ 39 w 41"/>
                <a:gd name="T43" fmla="*/ 30 h 78"/>
                <a:gd name="T44" fmla="*/ 39 w 41"/>
                <a:gd name="T45" fmla="*/ 30 h 78"/>
                <a:gd name="T46" fmla="*/ 39 w 41"/>
                <a:gd name="T47" fmla="*/ 30 h 78"/>
                <a:gd name="T48" fmla="*/ 39 w 41"/>
                <a:gd name="T49" fmla="*/ 30 h 78"/>
                <a:gd name="T50" fmla="*/ 41 w 41"/>
                <a:gd name="T51" fmla="*/ 12 h 78"/>
                <a:gd name="T52" fmla="*/ 41 w 41"/>
                <a:gd name="T53" fmla="*/ 12 h 78"/>
                <a:gd name="T54" fmla="*/ 41 w 41"/>
                <a:gd name="T55" fmla="*/ 12 h 78"/>
                <a:gd name="T56" fmla="*/ 41 w 41"/>
                <a:gd name="T57" fmla="*/ 2 h 78"/>
                <a:gd name="T58" fmla="*/ 41 w 41"/>
                <a:gd name="T59" fmla="*/ 12 h 78"/>
                <a:gd name="T60" fmla="*/ 41 w 41"/>
                <a:gd name="T61" fmla="*/ 3 h 78"/>
                <a:gd name="T62" fmla="*/ 41 w 41"/>
                <a:gd name="T63" fmla="*/ 3 h 78"/>
                <a:gd name="T64" fmla="*/ 41 w 41"/>
                <a:gd name="T65" fmla="*/ 3 h 78"/>
                <a:gd name="T66" fmla="*/ 41 w 41"/>
                <a:gd name="T67" fmla="*/ 2 h 78"/>
                <a:gd name="T68" fmla="*/ 41 w 41"/>
                <a:gd name="T69" fmla="*/ 0 h 78"/>
                <a:gd name="T70" fmla="*/ 41 w 41"/>
                <a:gd name="T71" fmla="*/ 1 h 78"/>
                <a:gd name="T72" fmla="*/ 41 w 41"/>
                <a:gd name="T73" fmla="*/ 0 h 78"/>
                <a:gd name="T74" fmla="*/ 41 w 41"/>
                <a:gd name="T75" fmla="*/ 0 h 78"/>
                <a:gd name="T76" fmla="*/ 41 w 41"/>
                <a:gd name="T77" fmla="*/ 0 h 78"/>
                <a:gd name="T78" fmla="*/ 41 w 41"/>
                <a:gd name="T79" fmla="*/ 0 h 78"/>
                <a:gd name="T80" fmla="*/ 41 w 41"/>
                <a:gd name="T81" fmla="*/ 0 h 78"/>
                <a:gd name="T82" fmla="*/ 41 w 41"/>
                <a:gd name="T83" fmla="*/ 0 h 78"/>
                <a:gd name="T84" fmla="*/ 41 w 41"/>
                <a:gd name="T85" fmla="*/ 0 h 78"/>
                <a:gd name="T86" fmla="*/ 41 w 41"/>
                <a:gd name="T87" fmla="*/ 0 h 78"/>
                <a:gd name="T88" fmla="*/ 41 w 41"/>
                <a:gd name="T89" fmla="*/ 0 h 78"/>
                <a:gd name="T90" fmla="*/ 41 w 41"/>
                <a:gd name="T9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78">
                  <a:moveTo>
                    <a:pt x="30" y="77"/>
                  </a:moveTo>
                  <a:cubicBezTo>
                    <a:pt x="30" y="77"/>
                    <a:pt x="30" y="77"/>
                    <a:pt x="30" y="77"/>
                  </a:cubicBezTo>
                  <a:cubicBezTo>
                    <a:pt x="30" y="77"/>
                    <a:pt x="30" y="77"/>
                    <a:pt x="30" y="77"/>
                  </a:cubicBezTo>
                  <a:moveTo>
                    <a:pt x="30" y="77"/>
                  </a:moveTo>
                  <a:cubicBezTo>
                    <a:pt x="30" y="77"/>
                    <a:pt x="30" y="77"/>
                    <a:pt x="30" y="77"/>
                  </a:cubicBezTo>
                  <a:cubicBezTo>
                    <a:pt x="30" y="77"/>
                    <a:pt x="30" y="77"/>
                    <a:pt x="30" y="77"/>
                  </a:cubicBezTo>
                  <a:moveTo>
                    <a:pt x="0" y="56"/>
                  </a:moveTo>
                  <a:cubicBezTo>
                    <a:pt x="0" y="56"/>
                    <a:pt x="0" y="56"/>
                    <a:pt x="0" y="56"/>
                  </a:cubicBezTo>
                  <a:cubicBezTo>
                    <a:pt x="30" y="78"/>
                    <a:pt x="30" y="78"/>
                    <a:pt x="30" y="78"/>
                  </a:cubicBezTo>
                  <a:cubicBezTo>
                    <a:pt x="0" y="56"/>
                    <a:pt x="0" y="56"/>
                    <a:pt x="0" y="56"/>
                  </a:cubicBezTo>
                  <a:moveTo>
                    <a:pt x="39" y="31"/>
                  </a:moveTo>
                  <a:cubicBezTo>
                    <a:pt x="37" y="43"/>
                    <a:pt x="35" y="59"/>
                    <a:pt x="30" y="77"/>
                  </a:cubicBezTo>
                  <a:cubicBezTo>
                    <a:pt x="35" y="59"/>
                    <a:pt x="37" y="43"/>
                    <a:pt x="39" y="31"/>
                  </a:cubicBezTo>
                  <a:moveTo>
                    <a:pt x="39" y="30"/>
                  </a:moveTo>
                  <a:cubicBezTo>
                    <a:pt x="39" y="30"/>
                    <a:pt x="39" y="31"/>
                    <a:pt x="39" y="31"/>
                  </a:cubicBezTo>
                  <a:cubicBezTo>
                    <a:pt x="39" y="31"/>
                    <a:pt x="39" y="30"/>
                    <a:pt x="39" y="30"/>
                  </a:cubicBezTo>
                  <a:moveTo>
                    <a:pt x="39" y="30"/>
                  </a:moveTo>
                  <a:cubicBezTo>
                    <a:pt x="39" y="30"/>
                    <a:pt x="39" y="30"/>
                    <a:pt x="39" y="30"/>
                  </a:cubicBezTo>
                  <a:cubicBezTo>
                    <a:pt x="39" y="30"/>
                    <a:pt x="39" y="30"/>
                    <a:pt x="39" y="30"/>
                  </a:cubicBezTo>
                  <a:moveTo>
                    <a:pt x="39" y="30"/>
                  </a:moveTo>
                  <a:cubicBezTo>
                    <a:pt x="39" y="30"/>
                    <a:pt x="39" y="30"/>
                    <a:pt x="39" y="30"/>
                  </a:cubicBezTo>
                  <a:cubicBezTo>
                    <a:pt x="39" y="30"/>
                    <a:pt x="39" y="30"/>
                    <a:pt x="39" y="30"/>
                  </a:cubicBezTo>
                  <a:moveTo>
                    <a:pt x="39" y="30"/>
                  </a:moveTo>
                  <a:cubicBezTo>
                    <a:pt x="39" y="30"/>
                    <a:pt x="39" y="30"/>
                    <a:pt x="39" y="30"/>
                  </a:cubicBezTo>
                  <a:cubicBezTo>
                    <a:pt x="39" y="30"/>
                    <a:pt x="39" y="30"/>
                    <a:pt x="39" y="30"/>
                  </a:cubicBezTo>
                  <a:moveTo>
                    <a:pt x="41" y="12"/>
                  </a:moveTo>
                  <a:cubicBezTo>
                    <a:pt x="41" y="12"/>
                    <a:pt x="41" y="12"/>
                    <a:pt x="41" y="12"/>
                  </a:cubicBezTo>
                  <a:cubicBezTo>
                    <a:pt x="41" y="12"/>
                    <a:pt x="41" y="12"/>
                    <a:pt x="41" y="12"/>
                  </a:cubicBezTo>
                  <a:moveTo>
                    <a:pt x="41" y="2"/>
                  </a:moveTo>
                  <a:cubicBezTo>
                    <a:pt x="41" y="4"/>
                    <a:pt x="41" y="7"/>
                    <a:pt x="41" y="12"/>
                  </a:cubicBezTo>
                  <a:cubicBezTo>
                    <a:pt x="41" y="8"/>
                    <a:pt x="41" y="5"/>
                    <a:pt x="41" y="3"/>
                  </a:cubicBezTo>
                  <a:cubicBezTo>
                    <a:pt x="41" y="3"/>
                    <a:pt x="41" y="3"/>
                    <a:pt x="41" y="3"/>
                  </a:cubicBezTo>
                  <a:cubicBezTo>
                    <a:pt x="41" y="3"/>
                    <a:pt x="41" y="3"/>
                    <a:pt x="41" y="3"/>
                  </a:cubicBezTo>
                  <a:cubicBezTo>
                    <a:pt x="41" y="3"/>
                    <a:pt x="41" y="2"/>
                    <a:pt x="41" y="2"/>
                  </a:cubicBezTo>
                  <a:moveTo>
                    <a:pt x="41" y="0"/>
                  </a:moveTo>
                  <a:cubicBezTo>
                    <a:pt x="41" y="0"/>
                    <a:pt x="41" y="0"/>
                    <a:pt x="41" y="1"/>
                  </a:cubicBezTo>
                  <a:cubicBezTo>
                    <a:pt x="41" y="0"/>
                    <a:pt x="41" y="0"/>
                    <a:pt x="41" y="0"/>
                  </a:cubicBezTo>
                  <a:cubicBezTo>
                    <a:pt x="41" y="0"/>
                    <a:pt x="41" y="0"/>
                    <a:pt x="41" y="0"/>
                  </a:cubicBezTo>
                  <a:cubicBezTo>
                    <a:pt x="41" y="0"/>
                    <a:pt x="41" y="0"/>
                    <a:pt x="41" y="0"/>
                  </a:cubicBezTo>
                  <a:moveTo>
                    <a:pt x="41" y="0"/>
                  </a:moveTo>
                  <a:cubicBezTo>
                    <a:pt x="41" y="0"/>
                    <a:pt x="41" y="0"/>
                    <a:pt x="41" y="0"/>
                  </a:cubicBezTo>
                  <a:cubicBezTo>
                    <a:pt x="41" y="0"/>
                    <a:pt x="41" y="0"/>
                    <a:pt x="41" y="0"/>
                  </a:cubicBezTo>
                  <a:cubicBezTo>
                    <a:pt x="41" y="0"/>
                    <a:pt x="41" y="0"/>
                    <a:pt x="41" y="0"/>
                  </a:cubicBezTo>
                  <a:moveTo>
                    <a:pt x="41" y="0"/>
                  </a:moveTo>
                  <a:cubicBezTo>
                    <a:pt x="41" y="0"/>
                    <a:pt x="41" y="0"/>
                    <a:pt x="41" y="0"/>
                  </a:cubicBezTo>
                  <a:cubicBezTo>
                    <a:pt x="41" y="0"/>
                    <a:pt x="41" y="0"/>
                    <a:pt x="41" y="0"/>
                  </a:cubicBezTo>
                </a:path>
              </a:pathLst>
            </a:custGeom>
            <a:solidFill>
              <a:srgbClr val="F19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1" name="Freeform 46">
              <a:extLst>
                <a:ext uri="{FF2B5EF4-FFF2-40B4-BE49-F238E27FC236}">
                  <a16:creationId xmlns:a16="http://schemas.microsoft.com/office/drawing/2014/main" id="{85B3D57D-624D-AD4B-A3A1-604E95B4FA24}"/>
                </a:ext>
              </a:extLst>
            </p:cNvPr>
            <p:cNvSpPr>
              <a:spLocks/>
            </p:cNvSpPr>
            <p:nvPr/>
          </p:nvSpPr>
          <p:spPr bwMode="auto">
            <a:xfrm>
              <a:off x="11083131" y="1675079"/>
              <a:ext cx="265201" cy="503061"/>
            </a:xfrm>
            <a:custGeom>
              <a:avLst/>
              <a:gdLst>
                <a:gd name="T0" fmla="*/ 41 w 41"/>
                <a:gd name="T1" fmla="*/ 0 h 78"/>
                <a:gd name="T2" fmla="*/ 41 w 41"/>
                <a:gd name="T3" fmla="*/ 0 h 78"/>
                <a:gd name="T4" fmla="*/ 41 w 41"/>
                <a:gd name="T5" fmla="*/ 0 h 78"/>
                <a:gd name="T6" fmla="*/ 0 w 41"/>
                <a:gd name="T7" fmla="*/ 56 h 78"/>
                <a:gd name="T8" fmla="*/ 30 w 41"/>
                <a:gd name="T9" fmla="*/ 78 h 78"/>
                <a:gd name="T10" fmla="*/ 30 w 41"/>
                <a:gd name="T11" fmla="*/ 77 h 78"/>
                <a:gd name="T12" fmla="*/ 30 w 41"/>
                <a:gd name="T13" fmla="*/ 77 h 78"/>
                <a:gd name="T14" fmla="*/ 30 w 41"/>
                <a:gd name="T15" fmla="*/ 77 h 78"/>
                <a:gd name="T16" fmla="*/ 30 w 41"/>
                <a:gd name="T17" fmla="*/ 77 h 78"/>
                <a:gd name="T18" fmla="*/ 30 w 41"/>
                <a:gd name="T19" fmla="*/ 77 h 78"/>
                <a:gd name="T20" fmla="*/ 39 w 41"/>
                <a:gd name="T21" fmla="*/ 31 h 78"/>
                <a:gd name="T22" fmla="*/ 39 w 41"/>
                <a:gd name="T23" fmla="*/ 31 h 78"/>
                <a:gd name="T24" fmla="*/ 39 w 41"/>
                <a:gd name="T25" fmla="*/ 30 h 78"/>
                <a:gd name="T26" fmla="*/ 39 w 41"/>
                <a:gd name="T27" fmla="*/ 30 h 78"/>
                <a:gd name="T28" fmla="*/ 39 w 41"/>
                <a:gd name="T29" fmla="*/ 30 h 78"/>
                <a:gd name="T30" fmla="*/ 39 w 41"/>
                <a:gd name="T31" fmla="*/ 30 h 78"/>
                <a:gd name="T32" fmla="*/ 39 w 41"/>
                <a:gd name="T33" fmla="*/ 30 h 78"/>
                <a:gd name="T34" fmla="*/ 39 w 41"/>
                <a:gd name="T35" fmla="*/ 30 h 78"/>
                <a:gd name="T36" fmla="*/ 39 w 41"/>
                <a:gd name="T37" fmla="*/ 30 h 78"/>
                <a:gd name="T38" fmla="*/ 41 w 41"/>
                <a:gd name="T39" fmla="*/ 12 h 78"/>
                <a:gd name="T40" fmla="*/ 41 w 41"/>
                <a:gd name="T41" fmla="*/ 12 h 78"/>
                <a:gd name="T42" fmla="*/ 41 w 41"/>
                <a:gd name="T43" fmla="*/ 12 h 78"/>
                <a:gd name="T44" fmla="*/ 41 w 41"/>
                <a:gd name="T45" fmla="*/ 2 h 78"/>
                <a:gd name="T46" fmla="*/ 41 w 41"/>
                <a:gd name="T47" fmla="*/ 1 h 78"/>
                <a:gd name="T48" fmla="*/ 41 w 41"/>
                <a:gd name="T49" fmla="*/ 1 h 78"/>
                <a:gd name="T50" fmla="*/ 41 w 41"/>
                <a:gd name="T51" fmla="*/ 1 h 78"/>
                <a:gd name="T52" fmla="*/ 41 w 41"/>
                <a:gd name="T53" fmla="*/ 1 h 78"/>
                <a:gd name="T54" fmla="*/ 41 w 41"/>
                <a:gd name="T55" fmla="*/ 0 h 78"/>
                <a:gd name="T56" fmla="*/ 41 w 41"/>
                <a:gd name="T57" fmla="*/ 0 h 78"/>
                <a:gd name="T58" fmla="*/ 41 w 41"/>
                <a:gd name="T59" fmla="*/ 0 h 78"/>
                <a:gd name="T60" fmla="*/ 41 w 41"/>
                <a:gd name="T61" fmla="*/ 0 h 78"/>
                <a:gd name="T62" fmla="*/ 41 w 41"/>
                <a:gd name="T63" fmla="*/ 0 h 78"/>
                <a:gd name="T64" fmla="*/ 41 w 41"/>
                <a:gd name="T65" fmla="*/ 0 h 78"/>
                <a:gd name="T66" fmla="*/ 41 w 41"/>
                <a:gd name="T6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78">
                  <a:moveTo>
                    <a:pt x="41" y="0"/>
                  </a:moveTo>
                  <a:cubicBezTo>
                    <a:pt x="41" y="0"/>
                    <a:pt x="41" y="0"/>
                    <a:pt x="41" y="0"/>
                  </a:cubicBezTo>
                  <a:cubicBezTo>
                    <a:pt x="41" y="0"/>
                    <a:pt x="41" y="0"/>
                    <a:pt x="41" y="0"/>
                  </a:cubicBezTo>
                  <a:cubicBezTo>
                    <a:pt x="0" y="56"/>
                    <a:pt x="0" y="56"/>
                    <a:pt x="0" y="56"/>
                  </a:cubicBezTo>
                  <a:cubicBezTo>
                    <a:pt x="30" y="78"/>
                    <a:pt x="30" y="78"/>
                    <a:pt x="30" y="78"/>
                  </a:cubicBezTo>
                  <a:cubicBezTo>
                    <a:pt x="30" y="77"/>
                    <a:pt x="30" y="77"/>
                    <a:pt x="30" y="77"/>
                  </a:cubicBezTo>
                  <a:cubicBezTo>
                    <a:pt x="30" y="77"/>
                    <a:pt x="30" y="77"/>
                    <a:pt x="30" y="77"/>
                  </a:cubicBezTo>
                  <a:cubicBezTo>
                    <a:pt x="30" y="77"/>
                    <a:pt x="30" y="77"/>
                    <a:pt x="30" y="77"/>
                  </a:cubicBezTo>
                  <a:cubicBezTo>
                    <a:pt x="30" y="77"/>
                    <a:pt x="30" y="77"/>
                    <a:pt x="30" y="77"/>
                  </a:cubicBezTo>
                  <a:cubicBezTo>
                    <a:pt x="30" y="77"/>
                    <a:pt x="30" y="77"/>
                    <a:pt x="30" y="77"/>
                  </a:cubicBezTo>
                  <a:cubicBezTo>
                    <a:pt x="35" y="59"/>
                    <a:pt x="37" y="43"/>
                    <a:pt x="39" y="31"/>
                  </a:cubicBezTo>
                  <a:cubicBezTo>
                    <a:pt x="39" y="31"/>
                    <a:pt x="39" y="31"/>
                    <a:pt x="39" y="31"/>
                  </a:cubicBezTo>
                  <a:cubicBezTo>
                    <a:pt x="39" y="31"/>
                    <a:pt x="39" y="30"/>
                    <a:pt x="39" y="30"/>
                  </a:cubicBezTo>
                  <a:cubicBezTo>
                    <a:pt x="39" y="30"/>
                    <a:pt x="39" y="30"/>
                    <a:pt x="39" y="30"/>
                  </a:cubicBezTo>
                  <a:cubicBezTo>
                    <a:pt x="39" y="30"/>
                    <a:pt x="39" y="30"/>
                    <a:pt x="39" y="30"/>
                  </a:cubicBezTo>
                  <a:cubicBezTo>
                    <a:pt x="39" y="30"/>
                    <a:pt x="39" y="30"/>
                    <a:pt x="39" y="30"/>
                  </a:cubicBezTo>
                  <a:cubicBezTo>
                    <a:pt x="39" y="30"/>
                    <a:pt x="39" y="30"/>
                    <a:pt x="39" y="30"/>
                  </a:cubicBezTo>
                  <a:cubicBezTo>
                    <a:pt x="39" y="30"/>
                    <a:pt x="39" y="30"/>
                    <a:pt x="39" y="30"/>
                  </a:cubicBezTo>
                  <a:cubicBezTo>
                    <a:pt x="39" y="30"/>
                    <a:pt x="39" y="30"/>
                    <a:pt x="39" y="30"/>
                  </a:cubicBezTo>
                  <a:cubicBezTo>
                    <a:pt x="40" y="23"/>
                    <a:pt x="40" y="17"/>
                    <a:pt x="41" y="12"/>
                  </a:cubicBezTo>
                  <a:cubicBezTo>
                    <a:pt x="41" y="12"/>
                    <a:pt x="41" y="12"/>
                    <a:pt x="41" y="12"/>
                  </a:cubicBezTo>
                  <a:cubicBezTo>
                    <a:pt x="41" y="12"/>
                    <a:pt x="41" y="12"/>
                    <a:pt x="41" y="12"/>
                  </a:cubicBezTo>
                  <a:cubicBezTo>
                    <a:pt x="41" y="7"/>
                    <a:pt x="41" y="4"/>
                    <a:pt x="41" y="2"/>
                  </a:cubicBezTo>
                  <a:cubicBezTo>
                    <a:pt x="41" y="2"/>
                    <a:pt x="41" y="1"/>
                    <a:pt x="41" y="1"/>
                  </a:cubicBezTo>
                  <a:cubicBezTo>
                    <a:pt x="41" y="1"/>
                    <a:pt x="41" y="1"/>
                    <a:pt x="41" y="1"/>
                  </a:cubicBezTo>
                  <a:cubicBezTo>
                    <a:pt x="41" y="1"/>
                    <a:pt x="41" y="1"/>
                    <a:pt x="41" y="1"/>
                  </a:cubicBezTo>
                  <a:cubicBezTo>
                    <a:pt x="41" y="1"/>
                    <a:pt x="41" y="1"/>
                    <a:pt x="41" y="1"/>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path>
              </a:pathLst>
            </a:custGeom>
            <a:solidFill>
              <a:srgbClr val="B2760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2" name="Freeform 47">
              <a:extLst>
                <a:ext uri="{FF2B5EF4-FFF2-40B4-BE49-F238E27FC236}">
                  <a16:creationId xmlns:a16="http://schemas.microsoft.com/office/drawing/2014/main" id="{3B7B1823-062A-C94A-97C4-10944C88712F}"/>
                </a:ext>
              </a:extLst>
            </p:cNvPr>
            <p:cNvSpPr>
              <a:spLocks noEditPoints="1"/>
            </p:cNvSpPr>
            <p:nvPr/>
          </p:nvSpPr>
          <p:spPr bwMode="auto">
            <a:xfrm>
              <a:off x="10771452" y="2432405"/>
              <a:ext cx="235126" cy="71085"/>
            </a:xfrm>
            <a:custGeom>
              <a:avLst/>
              <a:gdLst>
                <a:gd name="T0" fmla="*/ 15 w 36"/>
                <a:gd name="T1" fmla="*/ 11 h 11"/>
                <a:gd name="T2" fmla="*/ 15 w 36"/>
                <a:gd name="T3" fmla="*/ 11 h 11"/>
                <a:gd name="T4" fmla="*/ 15 w 36"/>
                <a:gd name="T5" fmla="*/ 11 h 11"/>
                <a:gd name="T6" fmla="*/ 15 w 36"/>
                <a:gd name="T7" fmla="*/ 11 h 11"/>
                <a:gd name="T8" fmla="*/ 0 w 36"/>
                <a:gd name="T9" fmla="*/ 6 h 11"/>
                <a:gd name="T10" fmla="*/ 0 w 36"/>
                <a:gd name="T11" fmla="*/ 6 h 11"/>
                <a:gd name="T12" fmla="*/ 0 w 36"/>
                <a:gd name="T13" fmla="*/ 6 h 11"/>
                <a:gd name="T14" fmla="*/ 36 w 36"/>
                <a:gd name="T15" fmla="*/ 0 h 11"/>
                <a:gd name="T16" fmla="*/ 15 w 36"/>
                <a:gd name="T17" fmla="*/ 11 h 11"/>
                <a:gd name="T18" fmla="*/ 36 w 36"/>
                <a:gd name="T19" fmla="*/ 0 h 11"/>
                <a:gd name="T20" fmla="*/ 36 w 36"/>
                <a:gd name="T21" fmla="*/ 0 h 11"/>
                <a:gd name="T22" fmla="*/ 36 w 36"/>
                <a:gd name="T23" fmla="*/ 0 h 11"/>
                <a:gd name="T24" fmla="*/ 36 w 36"/>
                <a:gd name="T2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11">
                  <a:moveTo>
                    <a:pt x="15" y="11"/>
                  </a:moveTo>
                  <a:cubicBezTo>
                    <a:pt x="15" y="11"/>
                    <a:pt x="15" y="11"/>
                    <a:pt x="15" y="11"/>
                  </a:cubicBezTo>
                  <a:cubicBezTo>
                    <a:pt x="15" y="11"/>
                    <a:pt x="15" y="11"/>
                    <a:pt x="15" y="11"/>
                  </a:cubicBezTo>
                  <a:cubicBezTo>
                    <a:pt x="15" y="11"/>
                    <a:pt x="15" y="11"/>
                    <a:pt x="15" y="11"/>
                  </a:cubicBezTo>
                  <a:moveTo>
                    <a:pt x="0" y="6"/>
                  </a:moveTo>
                  <a:cubicBezTo>
                    <a:pt x="0" y="6"/>
                    <a:pt x="0" y="6"/>
                    <a:pt x="0" y="6"/>
                  </a:cubicBezTo>
                  <a:cubicBezTo>
                    <a:pt x="0" y="6"/>
                    <a:pt x="0" y="6"/>
                    <a:pt x="0" y="6"/>
                  </a:cubicBezTo>
                  <a:moveTo>
                    <a:pt x="36" y="0"/>
                  </a:moveTo>
                  <a:cubicBezTo>
                    <a:pt x="31" y="7"/>
                    <a:pt x="23" y="11"/>
                    <a:pt x="15" y="11"/>
                  </a:cubicBezTo>
                  <a:cubicBezTo>
                    <a:pt x="23" y="11"/>
                    <a:pt x="31" y="7"/>
                    <a:pt x="36" y="0"/>
                  </a:cubicBezTo>
                  <a:moveTo>
                    <a:pt x="36" y="0"/>
                  </a:moveTo>
                  <a:cubicBezTo>
                    <a:pt x="36" y="0"/>
                    <a:pt x="36" y="0"/>
                    <a:pt x="36" y="0"/>
                  </a:cubicBezTo>
                  <a:cubicBezTo>
                    <a:pt x="36" y="0"/>
                    <a:pt x="36" y="0"/>
                    <a:pt x="36" y="0"/>
                  </a:cubicBezTo>
                </a:path>
              </a:pathLst>
            </a:custGeom>
            <a:solidFill>
              <a:srgbClr val="F19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3" name="Freeform 48">
              <a:extLst>
                <a:ext uri="{FF2B5EF4-FFF2-40B4-BE49-F238E27FC236}">
                  <a16:creationId xmlns:a16="http://schemas.microsoft.com/office/drawing/2014/main" id="{05040A65-5CBA-B945-8B92-693E3DFF0F34}"/>
                </a:ext>
              </a:extLst>
            </p:cNvPr>
            <p:cNvSpPr>
              <a:spLocks/>
            </p:cNvSpPr>
            <p:nvPr/>
          </p:nvSpPr>
          <p:spPr bwMode="auto">
            <a:xfrm>
              <a:off x="10771452" y="2191810"/>
              <a:ext cx="265201" cy="311679"/>
            </a:xfrm>
            <a:custGeom>
              <a:avLst/>
              <a:gdLst>
                <a:gd name="T0" fmla="*/ 30 w 41"/>
                <a:gd name="T1" fmla="*/ 0 h 48"/>
                <a:gd name="T2" fmla="*/ 26 w 41"/>
                <a:gd name="T3" fmla="*/ 6 h 48"/>
                <a:gd name="T4" fmla="*/ 34 w 41"/>
                <a:gd name="T5" fmla="*/ 21 h 48"/>
                <a:gd name="T6" fmla="*/ 31 w 41"/>
                <a:gd name="T7" fmla="*/ 33 h 48"/>
                <a:gd name="T8" fmla="*/ 15 w 41"/>
                <a:gd name="T9" fmla="*/ 41 h 48"/>
                <a:gd name="T10" fmla="*/ 4 w 41"/>
                <a:gd name="T11" fmla="*/ 37 h 48"/>
                <a:gd name="T12" fmla="*/ 4 w 41"/>
                <a:gd name="T13" fmla="*/ 37 h 48"/>
                <a:gd name="T14" fmla="*/ 0 w 41"/>
                <a:gd name="T15" fmla="*/ 43 h 48"/>
                <a:gd name="T16" fmla="*/ 0 w 41"/>
                <a:gd name="T17" fmla="*/ 43 h 48"/>
                <a:gd name="T18" fmla="*/ 0 w 41"/>
                <a:gd name="T19" fmla="*/ 43 h 48"/>
                <a:gd name="T20" fmla="*/ 0 w 41"/>
                <a:gd name="T21" fmla="*/ 43 h 48"/>
                <a:gd name="T22" fmla="*/ 0 w 41"/>
                <a:gd name="T23" fmla="*/ 43 h 48"/>
                <a:gd name="T24" fmla="*/ 15 w 41"/>
                <a:gd name="T25" fmla="*/ 48 h 48"/>
                <a:gd name="T26" fmla="*/ 15 w 41"/>
                <a:gd name="T27" fmla="*/ 48 h 48"/>
                <a:gd name="T28" fmla="*/ 15 w 41"/>
                <a:gd name="T29" fmla="*/ 48 h 48"/>
                <a:gd name="T30" fmla="*/ 15 w 41"/>
                <a:gd name="T31" fmla="*/ 48 h 48"/>
                <a:gd name="T32" fmla="*/ 15 w 41"/>
                <a:gd name="T33" fmla="*/ 48 h 48"/>
                <a:gd name="T34" fmla="*/ 15 w 41"/>
                <a:gd name="T35" fmla="*/ 48 h 48"/>
                <a:gd name="T36" fmla="*/ 36 w 41"/>
                <a:gd name="T37" fmla="*/ 37 h 48"/>
                <a:gd name="T38" fmla="*/ 36 w 41"/>
                <a:gd name="T39" fmla="*/ 37 h 48"/>
                <a:gd name="T40" fmla="*/ 36 w 41"/>
                <a:gd name="T41" fmla="*/ 37 h 48"/>
                <a:gd name="T42" fmla="*/ 36 w 41"/>
                <a:gd name="T43" fmla="*/ 37 h 48"/>
                <a:gd name="T44" fmla="*/ 36 w 41"/>
                <a:gd name="T45" fmla="*/ 37 h 48"/>
                <a:gd name="T46" fmla="*/ 36 w 41"/>
                <a:gd name="T47" fmla="*/ 37 h 48"/>
                <a:gd name="T48" fmla="*/ 36 w 41"/>
                <a:gd name="T49" fmla="*/ 37 h 48"/>
                <a:gd name="T50" fmla="*/ 41 w 41"/>
                <a:gd name="T51" fmla="*/ 21 h 48"/>
                <a:gd name="T52" fmla="*/ 30 w 41"/>
                <a:gd name="T53" fmla="*/ 0 h 48"/>
                <a:gd name="T54" fmla="*/ 30 w 41"/>
                <a:gd name="T5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1" h="48">
                  <a:moveTo>
                    <a:pt x="30" y="0"/>
                  </a:moveTo>
                  <a:cubicBezTo>
                    <a:pt x="26" y="6"/>
                    <a:pt x="26" y="6"/>
                    <a:pt x="26" y="6"/>
                  </a:cubicBezTo>
                  <a:cubicBezTo>
                    <a:pt x="32" y="10"/>
                    <a:pt x="34" y="16"/>
                    <a:pt x="34" y="21"/>
                  </a:cubicBezTo>
                  <a:cubicBezTo>
                    <a:pt x="34" y="25"/>
                    <a:pt x="33" y="29"/>
                    <a:pt x="31" y="33"/>
                  </a:cubicBezTo>
                  <a:cubicBezTo>
                    <a:pt x="27" y="38"/>
                    <a:pt x="21" y="41"/>
                    <a:pt x="15" y="41"/>
                  </a:cubicBezTo>
                  <a:cubicBezTo>
                    <a:pt x="11" y="41"/>
                    <a:pt x="7" y="40"/>
                    <a:pt x="4" y="37"/>
                  </a:cubicBezTo>
                  <a:cubicBezTo>
                    <a:pt x="4" y="37"/>
                    <a:pt x="4" y="37"/>
                    <a:pt x="4" y="37"/>
                  </a:cubicBezTo>
                  <a:cubicBezTo>
                    <a:pt x="0" y="43"/>
                    <a:pt x="0" y="43"/>
                    <a:pt x="0" y="43"/>
                  </a:cubicBezTo>
                  <a:cubicBezTo>
                    <a:pt x="0" y="43"/>
                    <a:pt x="0" y="43"/>
                    <a:pt x="0" y="43"/>
                  </a:cubicBezTo>
                  <a:cubicBezTo>
                    <a:pt x="0" y="43"/>
                    <a:pt x="0" y="43"/>
                    <a:pt x="0" y="43"/>
                  </a:cubicBezTo>
                  <a:cubicBezTo>
                    <a:pt x="0" y="43"/>
                    <a:pt x="0" y="43"/>
                    <a:pt x="0" y="43"/>
                  </a:cubicBezTo>
                  <a:cubicBezTo>
                    <a:pt x="0" y="43"/>
                    <a:pt x="0" y="43"/>
                    <a:pt x="0" y="43"/>
                  </a:cubicBezTo>
                  <a:cubicBezTo>
                    <a:pt x="4" y="46"/>
                    <a:pt x="10"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23" y="48"/>
                    <a:pt x="31" y="44"/>
                    <a:pt x="36" y="37"/>
                  </a:cubicBezTo>
                  <a:cubicBezTo>
                    <a:pt x="36" y="37"/>
                    <a:pt x="36" y="37"/>
                    <a:pt x="36" y="37"/>
                  </a:cubicBezTo>
                  <a:cubicBezTo>
                    <a:pt x="36" y="37"/>
                    <a:pt x="36" y="37"/>
                    <a:pt x="36" y="37"/>
                  </a:cubicBezTo>
                  <a:cubicBezTo>
                    <a:pt x="36" y="37"/>
                    <a:pt x="36" y="37"/>
                    <a:pt x="36" y="37"/>
                  </a:cubicBezTo>
                  <a:cubicBezTo>
                    <a:pt x="36" y="37"/>
                    <a:pt x="36" y="37"/>
                    <a:pt x="36" y="37"/>
                  </a:cubicBezTo>
                  <a:cubicBezTo>
                    <a:pt x="36" y="37"/>
                    <a:pt x="36" y="37"/>
                    <a:pt x="36" y="37"/>
                  </a:cubicBezTo>
                  <a:cubicBezTo>
                    <a:pt x="36" y="37"/>
                    <a:pt x="36" y="37"/>
                    <a:pt x="36" y="37"/>
                  </a:cubicBezTo>
                  <a:cubicBezTo>
                    <a:pt x="40" y="32"/>
                    <a:pt x="41" y="27"/>
                    <a:pt x="41" y="21"/>
                  </a:cubicBezTo>
                  <a:cubicBezTo>
                    <a:pt x="41" y="13"/>
                    <a:pt x="37" y="5"/>
                    <a:pt x="30" y="0"/>
                  </a:cubicBezTo>
                  <a:cubicBezTo>
                    <a:pt x="30" y="0"/>
                    <a:pt x="30" y="0"/>
                    <a:pt x="30" y="0"/>
                  </a:cubicBezTo>
                </a:path>
              </a:pathLst>
            </a:custGeom>
            <a:solidFill>
              <a:schemeClr val="accent6">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94" name="Rectangle 293">
            <a:extLst>
              <a:ext uri="{FF2B5EF4-FFF2-40B4-BE49-F238E27FC236}">
                <a16:creationId xmlns:a16="http://schemas.microsoft.com/office/drawing/2014/main" id="{B807F10C-8D04-0443-A446-41FBEF8F4E1C}"/>
              </a:ext>
            </a:extLst>
          </p:cNvPr>
          <p:cNvSpPr/>
          <p:nvPr/>
        </p:nvSpPr>
        <p:spPr>
          <a:xfrm>
            <a:off x="6451811" y="4772046"/>
            <a:ext cx="5655063" cy="507831"/>
          </a:xfrm>
          <a:prstGeom prst="rect">
            <a:avLst/>
          </a:prstGeom>
        </p:spPr>
        <p:txBody>
          <a:bodyPr wrap="square">
            <a:spAutoFit/>
          </a:bodyPr>
          <a:lstStyle/>
          <a:p>
            <a:r>
              <a:rPr lang="en-IN" sz="900" dirty="0">
                <a:solidFill>
                  <a:schemeClr val="tx1"/>
                </a:solidFill>
                <a:latin typeface="Lato" charset="0"/>
                <a:ea typeface="Lato" charset="0"/>
                <a:cs typeface="Lato" charset="0"/>
                <a:sym typeface="Proxima Nova"/>
              </a:rPr>
              <a:t>Breadth of services across digital &amp; convergent technologies which includes UX, UI, Mobility, Big Data, Analytics and Cloud. Early adaptor and service provider on emerging technologies including Blockchain and IOT​</a:t>
            </a:r>
            <a:endParaRPr lang="en-US" sz="900" dirty="0">
              <a:solidFill>
                <a:schemeClr val="tx1"/>
              </a:solidFill>
              <a:latin typeface="Lato" charset="0"/>
              <a:ea typeface="Lato" charset="0"/>
              <a:cs typeface="Lato" charset="0"/>
              <a:sym typeface="Proxima Nova"/>
            </a:endParaRPr>
          </a:p>
        </p:txBody>
      </p:sp>
      <p:sp>
        <p:nvSpPr>
          <p:cNvPr id="295" name="Rectangle 294">
            <a:extLst>
              <a:ext uri="{FF2B5EF4-FFF2-40B4-BE49-F238E27FC236}">
                <a16:creationId xmlns:a16="http://schemas.microsoft.com/office/drawing/2014/main" id="{C5416DA0-A658-6B41-B8C5-11056C80A433}"/>
              </a:ext>
            </a:extLst>
          </p:cNvPr>
          <p:cNvSpPr/>
          <p:nvPr/>
        </p:nvSpPr>
        <p:spPr>
          <a:xfrm>
            <a:off x="5916808" y="5418377"/>
            <a:ext cx="6126158" cy="369332"/>
          </a:xfrm>
          <a:prstGeom prst="rect">
            <a:avLst/>
          </a:prstGeom>
        </p:spPr>
        <p:txBody>
          <a:bodyPr wrap="square">
            <a:spAutoFit/>
          </a:bodyPr>
          <a:lstStyle/>
          <a:p>
            <a:r>
              <a:rPr lang="en-IN" sz="900" dirty="0">
                <a:solidFill>
                  <a:schemeClr val="tx1"/>
                </a:solidFill>
                <a:latin typeface="Lato" charset="0"/>
                <a:ea typeface="Lato" charset="0"/>
                <a:cs typeface="Lato" charset="0"/>
                <a:sym typeface="Proxima Nova"/>
              </a:rPr>
              <a:t>Agile teams with Product Engineering background delivering Product Releases on time and within budgets. Project-ready Skilled team which pivots with ease</a:t>
            </a:r>
            <a:endParaRPr lang="en-US" sz="900" dirty="0">
              <a:solidFill>
                <a:schemeClr val="tx1"/>
              </a:solidFill>
              <a:latin typeface="Lato" charset="0"/>
              <a:ea typeface="Lato" charset="0"/>
              <a:cs typeface="Lato" charset="0"/>
              <a:sym typeface="Proxima Nova"/>
            </a:endParaRPr>
          </a:p>
        </p:txBody>
      </p:sp>
    </p:spTree>
    <p:extLst>
      <p:ext uri="{BB962C8B-B14F-4D97-AF65-F5344CB8AC3E}">
        <p14:creationId xmlns:p14="http://schemas.microsoft.com/office/powerpoint/2010/main" val="2982951634"/>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8AE5AD-AF3B-174D-8D2F-7B380E3BB6DC}"/>
              </a:ext>
            </a:extLst>
          </p:cNvPr>
          <p:cNvSpPr>
            <a:spLocks noGrp="1"/>
          </p:cNvSpPr>
          <p:nvPr>
            <p:ph type="title"/>
          </p:nvPr>
        </p:nvSpPr>
        <p:spPr/>
        <p:txBody>
          <a:bodyPr>
            <a:normAutofit fontScale="90000"/>
          </a:bodyPr>
          <a:lstStyle/>
          <a:p>
            <a:r>
              <a:rPr lang="en-US" dirty="0"/>
              <a:t>Global Locations</a:t>
            </a:r>
          </a:p>
        </p:txBody>
      </p:sp>
      <p:pic>
        <p:nvPicPr>
          <p:cNvPr id="3" name="Picture 2">
            <a:extLst>
              <a:ext uri="{FF2B5EF4-FFF2-40B4-BE49-F238E27FC236}">
                <a16:creationId xmlns:a16="http://schemas.microsoft.com/office/drawing/2014/main" id="{7FC8746A-8DDE-5241-8AAD-74A3E7006AA1}"/>
              </a:ext>
            </a:extLst>
          </p:cNvPr>
          <p:cNvPicPr>
            <a:picLocks noChangeAspect="1"/>
          </p:cNvPicPr>
          <p:nvPr/>
        </p:nvPicPr>
        <p:blipFill>
          <a:blip r:embed="rId2"/>
          <a:stretch>
            <a:fillRect/>
          </a:stretch>
        </p:blipFill>
        <p:spPr>
          <a:xfrm>
            <a:off x="1589" y="893"/>
            <a:ext cx="12188825" cy="6856214"/>
          </a:xfrm>
          <a:prstGeom prst="rect">
            <a:avLst/>
          </a:prstGeom>
        </p:spPr>
      </p:pic>
    </p:spTree>
    <p:extLst>
      <p:ext uri="{BB962C8B-B14F-4D97-AF65-F5344CB8AC3E}">
        <p14:creationId xmlns:p14="http://schemas.microsoft.com/office/powerpoint/2010/main" val="810292779"/>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095760D-53C6-7749-B784-E23B2B3E5756}"/>
              </a:ext>
            </a:extLst>
          </p:cNvPr>
          <p:cNvSpPr/>
          <p:nvPr/>
        </p:nvSpPr>
        <p:spPr>
          <a:xfrm>
            <a:off x="1965789" y="527433"/>
            <a:ext cx="1981633" cy="461665"/>
          </a:xfrm>
          <a:prstGeom prst="rect">
            <a:avLst/>
          </a:prstGeom>
        </p:spPr>
        <p:txBody>
          <a:bodyPr wrap="none">
            <a:spAutoFit/>
          </a:bodyPr>
          <a:lstStyle/>
          <a:p>
            <a:pPr algn="ctr"/>
            <a:r>
              <a:rPr lang="da-DK" sz="2400" b="1" i="1" spc="600" dirty="0">
                <a:solidFill>
                  <a:srgbClr val="E76B17"/>
                </a:solidFill>
                <a:latin typeface="Lato" panose="020F0502020204030203" pitchFamily="34" charset="0"/>
                <a:ea typeface="Lato" panose="020F0502020204030203" pitchFamily="34" charset="0"/>
                <a:cs typeface="Lato" panose="020F0502020204030203" pitchFamily="34" charset="0"/>
              </a:rPr>
              <a:t>AGENDA</a:t>
            </a:r>
            <a:endParaRPr lang="en-US" sz="2400" b="1" i="1" spc="600" dirty="0">
              <a:solidFill>
                <a:srgbClr val="E76B17"/>
              </a:solidFill>
              <a:latin typeface="Lato" panose="020F0502020204030203" pitchFamily="34" charset="0"/>
              <a:ea typeface="Lato" panose="020F0502020204030203" pitchFamily="34" charset="0"/>
              <a:cs typeface="Lato" panose="020F0502020204030203" pitchFamily="34" charset="0"/>
            </a:endParaRPr>
          </a:p>
        </p:txBody>
      </p:sp>
      <p:grpSp>
        <p:nvGrpSpPr>
          <p:cNvPr id="2" name="Group 1">
            <a:extLst>
              <a:ext uri="{FF2B5EF4-FFF2-40B4-BE49-F238E27FC236}">
                <a16:creationId xmlns:a16="http://schemas.microsoft.com/office/drawing/2014/main" id="{875F8705-2E13-495B-872A-69954E95C664}"/>
              </a:ext>
            </a:extLst>
          </p:cNvPr>
          <p:cNvGrpSpPr/>
          <p:nvPr/>
        </p:nvGrpSpPr>
        <p:grpSpPr>
          <a:xfrm>
            <a:off x="470378" y="1871930"/>
            <a:ext cx="4972454" cy="2299951"/>
            <a:chOff x="470378" y="3094802"/>
            <a:chExt cx="4972454" cy="2299951"/>
          </a:xfrm>
        </p:grpSpPr>
        <p:cxnSp>
          <p:nvCxnSpPr>
            <p:cNvPr id="4" name="Straight Connector 3">
              <a:extLst>
                <a:ext uri="{FF2B5EF4-FFF2-40B4-BE49-F238E27FC236}">
                  <a16:creationId xmlns:a16="http://schemas.microsoft.com/office/drawing/2014/main" id="{D7943E74-9493-7A47-A93A-A6F40C2D748D}"/>
                </a:ext>
              </a:extLst>
            </p:cNvPr>
            <p:cNvCxnSpPr>
              <a:cxnSpLocks/>
            </p:cNvCxnSpPr>
            <p:nvPr/>
          </p:nvCxnSpPr>
          <p:spPr>
            <a:xfrm>
              <a:off x="616512" y="3108753"/>
              <a:ext cx="0" cy="22860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Round Same Side Corner Rectangle 4">
              <a:extLst>
                <a:ext uri="{FF2B5EF4-FFF2-40B4-BE49-F238E27FC236}">
                  <a16:creationId xmlns:a16="http://schemas.microsoft.com/office/drawing/2014/main" id="{B24452E3-7B9C-3B42-93CA-484E6AE10E35}"/>
                </a:ext>
              </a:extLst>
            </p:cNvPr>
            <p:cNvSpPr/>
            <p:nvPr>
              <p:custDataLst>
                <p:tags r:id="rId1"/>
              </p:custDataLst>
            </p:nvPr>
          </p:nvSpPr>
          <p:spPr>
            <a:xfrm>
              <a:off x="470378" y="3094802"/>
              <a:ext cx="4972454" cy="2093564"/>
            </a:xfrm>
            <a:prstGeom prst="round2SameRect">
              <a:avLst>
                <a:gd name="adj1" fmla="val 0"/>
                <a:gd name="adj2" fmla="val 0"/>
              </a:avLst>
            </a:prstGeom>
            <a:noFill/>
            <a:ln w="9525">
              <a:noFill/>
              <a:round/>
              <a:headEnd/>
              <a:tailEnd/>
            </a:ln>
            <a:effectLst/>
          </p:spPr>
          <p:txBody>
            <a:bodyPr anchor="ctr"/>
            <a:lstStyle/>
            <a:p>
              <a:pPr marL="285717" indent="-285717">
                <a:lnSpc>
                  <a:spcPct val="200000"/>
                </a:lnSpc>
                <a:buClr>
                  <a:srgbClr val="C00000"/>
                </a:buClr>
                <a:buSzPct val="150000"/>
                <a:buFont typeface="Arial" panose="020B0604020202020204" pitchFamily="34" charset="0"/>
                <a:buChar char="•"/>
              </a:pPr>
              <a:r>
                <a:rPr lang="en-US" i="1" dirty="0">
                  <a:solidFill>
                    <a:schemeClr val="tx1">
                      <a:lumMod val="65000"/>
                      <a:lumOff val="35000"/>
                    </a:schemeClr>
                  </a:solidFill>
                  <a:latin typeface="Lato" charset="0"/>
                  <a:ea typeface="Lato" charset="0"/>
                  <a:cs typeface="Lato" charset="0"/>
                </a:rPr>
                <a:t>Our Understanding and Engagement Scope</a:t>
              </a:r>
            </a:p>
            <a:p>
              <a:pPr marL="285717" indent="-285717">
                <a:lnSpc>
                  <a:spcPct val="200000"/>
                </a:lnSpc>
                <a:buClr>
                  <a:srgbClr val="C00000"/>
                </a:buClr>
                <a:buSzPct val="150000"/>
                <a:buFont typeface="Arial" panose="020B0604020202020204" pitchFamily="34" charset="0"/>
                <a:buChar char="•"/>
              </a:pPr>
              <a:r>
                <a:rPr lang="en-US" i="1" dirty="0">
                  <a:solidFill>
                    <a:schemeClr val="tx1">
                      <a:lumMod val="65000"/>
                      <a:lumOff val="35000"/>
                    </a:schemeClr>
                  </a:solidFill>
                  <a:latin typeface="Lato" charset="0"/>
                  <a:ea typeface="Lato" charset="0"/>
                  <a:cs typeface="Lato" charset="0"/>
                </a:rPr>
                <a:t>Unit Testing Approach</a:t>
              </a:r>
            </a:p>
            <a:p>
              <a:pPr marL="285717" indent="-285717">
                <a:lnSpc>
                  <a:spcPct val="200000"/>
                </a:lnSpc>
                <a:buClr>
                  <a:srgbClr val="C00000"/>
                </a:buClr>
                <a:buSzPct val="150000"/>
                <a:buFont typeface="Arial" panose="020B0604020202020204" pitchFamily="34" charset="0"/>
                <a:buChar char="•"/>
              </a:pPr>
              <a:r>
                <a:rPr lang="en-US" i="1" dirty="0">
                  <a:solidFill>
                    <a:schemeClr val="tx1">
                      <a:lumMod val="65000"/>
                      <a:lumOff val="35000"/>
                    </a:schemeClr>
                  </a:solidFill>
                  <a:latin typeface="Lato" charset="0"/>
                  <a:ea typeface="Lato" charset="0"/>
                  <a:cs typeface="Lato" charset="0"/>
                </a:rPr>
                <a:t>Schedule, Assumptions and Dependencies</a:t>
              </a:r>
            </a:p>
            <a:p>
              <a:pPr marL="285717" indent="-285717">
                <a:lnSpc>
                  <a:spcPct val="200000"/>
                </a:lnSpc>
                <a:buClr>
                  <a:srgbClr val="C00000"/>
                </a:buClr>
                <a:buSzPct val="150000"/>
                <a:buFont typeface="Arial" panose="020B0604020202020204" pitchFamily="34" charset="0"/>
                <a:buChar char="•"/>
              </a:pPr>
              <a:r>
                <a:rPr lang="en-US" i="1" dirty="0">
                  <a:solidFill>
                    <a:schemeClr val="tx1">
                      <a:lumMod val="65000"/>
                      <a:lumOff val="35000"/>
                    </a:schemeClr>
                  </a:solidFill>
                  <a:latin typeface="Lato" charset="0"/>
                  <a:ea typeface="Lato" charset="0"/>
                  <a:cs typeface="Lato" charset="0"/>
                </a:rPr>
                <a:t>Commercials</a:t>
              </a:r>
            </a:p>
          </p:txBody>
        </p:sp>
      </p:grpSp>
    </p:spTree>
    <p:extLst>
      <p:ext uri="{BB962C8B-B14F-4D97-AF65-F5344CB8AC3E}">
        <p14:creationId xmlns:p14="http://schemas.microsoft.com/office/powerpoint/2010/main" val="3458060992"/>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0592989-DFFD-4952-9C47-EA90640D6768}"/>
              </a:ext>
            </a:extLst>
          </p:cNvPr>
          <p:cNvSpPr/>
          <p:nvPr/>
        </p:nvSpPr>
        <p:spPr>
          <a:xfrm>
            <a:off x="0" y="2198474"/>
            <a:ext cx="12190412" cy="43235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47EA3C9-B785-4968-A536-5145F158B309}"/>
              </a:ext>
            </a:extLst>
          </p:cNvPr>
          <p:cNvSpPr>
            <a:spLocks noGrp="1"/>
          </p:cNvSpPr>
          <p:nvPr>
            <p:ph type="title"/>
          </p:nvPr>
        </p:nvSpPr>
        <p:spPr/>
        <p:txBody>
          <a:bodyPr>
            <a:noAutofit/>
          </a:bodyPr>
          <a:lstStyle/>
          <a:p>
            <a:r>
              <a:rPr lang="en-US" sz="2800" dirty="0">
                <a:latin typeface="Lato" panose="020F0502020204030203"/>
              </a:rPr>
              <a:t>Our Understanding and Engagement Scope</a:t>
            </a:r>
          </a:p>
        </p:txBody>
      </p:sp>
      <p:sp>
        <p:nvSpPr>
          <p:cNvPr id="28" name="Rectangle 27">
            <a:extLst>
              <a:ext uri="{FF2B5EF4-FFF2-40B4-BE49-F238E27FC236}">
                <a16:creationId xmlns:a16="http://schemas.microsoft.com/office/drawing/2014/main" id="{DBB31037-59AD-4B6D-9168-4D969FE054A9}"/>
              </a:ext>
            </a:extLst>
          </p:cNvPr>
          <p:cNvSpPr/>
          <p:nvPr/>
        </p:nvSpPr>
        <p:spPr>
          <a:xfrm>
            <a:off x="1588" y="793830"/>
            <a:ext cx="12212669" cy="1404644"/>
          </a:xfrm>
          <a:prstGeom prst="rect">
            <a:avLst/>
          </a:prstGeom>
          <a:pattFill prst="pct5">
            <a:fgClr>
              <a:srgbClr val="EEECE1">
                <a:lumMod val="75000"/>
              </a:srgbClr>
            </a:fgClr>
            <a:bgClr>
              <a:sysClr val="window" lastClr="FFFFFF"/>
            </a:bgClr>
          </a:pattFill>
          <a:ln w="25400" cap="flat" cmpd="sng" algn="ctr">
            <a:noFill/>
            <a:prstDash val="solid"/>
          </a:ln>
          <a:effectLst/>
        </p:spPr>
        <p:txBody>
          <a:bodyPr rtlCol="0" anchor="ctr"/>
          <a:lstStyle/>
          <a:p>
            <a:pPr algn="ctr">
              <a:defRPr/>
            </a:pPr>
            <a:endParaRPr lang="en-IN" dirty="0">
              <a:solidFill>
                <a:prstClr val="white"/>
              </a:solidFill>
              <a:latin typeface="Lato" panose="020F0502020204030203"/>
            </a:endParaRPr>
          </a:p>
        </p:txBody>
      </p:sp>
      <p:sp>
        <p:nvSpPr>
          <p:cNvPr id="30" name="TextBox 29">
            <a:extLst>
              <a:ext uri="{FF2B5EF4-FFF2-40B4-BE49-F238E27FC236}">
                <a16:creationId xmlns:a16="http://schemas.microsoft.com/office/drawing/2014/main" id="{D7AB9105-7282-4C1F-B903-AE78BC1DD058}"/>
              </a:ext>
            </a:extLst>
          </p:cNvPr>
          <p:cNvSpPr txBox="1"/>
          <p:nvPr/>
        </p:nvSpPr>
        <p:spPr>
          <a:xfrm>
            <a:off x="1853930" y="1136669"/>
            <a:ext cx="10336482" cy="954107"/>
          </a:xfrm>
          <a:prstGeom prst="rect">
            <a:avLst/>
          </a:prstGeom>
          <a:noFill/>
        </p:spPr>
        <p:txBody>
          <a:bodyPr wrap="square" rtlCol="0">
            <a:spAutoFit/>
          </a:bodyPr>
          <a:lstStyle/>
          <a:p>
            <a:pPr marL="91440" lvl="1" algn="just">
              <a:spcBef>
                <a:spcPts val="200"/>
              </a:spcBef>
              <a:spcAft>
                <a:spcPts val="200"/>
              </a:spcAft>
              <a:buClr>
                <a:srgbClr val="FF8200"/>
              </a:buClr>
              <a:buSzPct val="100000"/>
            </a:pPr>
            <a:r>
              <a:rPr lang="en-US" sz="1400" dirty="0">
                <a:latin typeface="Lato" panose="020F0502020204030203"/>
              </a:rPr>
              <a:t>The Nasdaq Stock Market is an American stock exchange. It is the second-largest stock exchange in the world by market capitalization. Nasdaq team is currently looking to conduct the comprehensive unit testing of their internal web application with about 800K lines of code and they are seeking Innominds support them in conducting the unit testing and achieve the maximum coverage.</a:t>
            </a:r>
          </a:p>
        </p:txBody>
      </p:sp>
      <p:sp>
        <p:nvSpPr>
          <p:cNvPr id="32" name="Oval 31">
            <a:extLst>
              <a:ext uri="{FF2B5EF4-FFF2-40B4-BE49-F238E27FC236}">
                <a16:creationId xmlns:a16="http://schemas.microsoft.com/office/drawing/2014/main" id="{EAF95D95-C123-4267-A9BD-0C04110F1560}"/>
              </a:ext>
            </a:extLst>
          </p:cNvPr>
          <p:cNvSpPr/>
          <p:nvPr/>
        </p:nvSpPr>
        <p:spPr>
          <a:xfrm>
            <a:off x="836250" y="1044574"/>
            <a:ext cx="174481" cy="174481"/>
          </a:xfrm>
          <a:prstGeom prst="ellipse">
            <a:avLst/>
          </a:prstGeom>
          <a:noFill/>
          <a:ln w="9525" cap="flat" cmpd="sng" algn="ctr">
            <a:solidFill>
              <a:srgbClr val="004B87"/>
            </a:solidFill>
            <a:prstDash val="solid"/>
          </a:ln>
          <a:effectLst/>
        </p:spPr>
        <p:txBody>
          <a:bodyPr rtlCol="0" anchor="ctr"/>
          <a:lstStyle/>
          <a:p>
            <a:pPr algn="ctr">
              <a:defRPr/>
            </a:pPr>
            <a:endParaRPr lang="en-IN" dirty="0">
              <a:solidFill>
                <a:prstClr val="white"/>
              </a:solidFill>
              <a:latin typeface="Lato" panose="020F0502020204030203"/>
            </a:endParaRPr>
          </a:p>
        </p:txBody>
      </p:sp>
      <p:cxnSp>
        <p:nvCxnSpPr>
          <p:cNvPr id="33" name="Straight Arrow Connector 32">
            <a:extLst>
              <a:ext uri="{FF2B5EF4-FFF2-40B4-BE49-F238E27FC236}">
                <a16:creationId xmlns:a16="http://schemas.microsoft.com/office/drawing/2014/main" id="{54FF1821-B793-4A6A-BB03-7B4FA4351B87}"/>
              </a:ext>
            </a:extLst>
          </p:cNvPr>
          <p:cNvCxnSpPr/>
          <p:nvPr/>
        </p:nvCxnSpPr>
        <p:spPr>
          <a:xfrm>
            <a:off x="923491" y="788533"/>
            <a:ext cx="827" cy="251196"/>
          </a:xfrm>
          <a:prstGeom prst="straightConnector1">
            <a:avLst/>
          </a:prstGeom>
          <a:noFill/>
          <a:ln w="9525" cap="flat" cmpd="sng" algn="ctr">
            <a:solidFill>
              <a:srgbClr val="004B87"/>
            </a:solidFill>
            <a:prstDash val="solid"/>
            <a:tailEnd type="none"/>
          </a:ln>
          <a:effectLst/>
        </p:spPr>
      </p:cxnSp>
      <p:grpSp>
        <p:nvGrpSpPr>
          <p:cNvPr id="34" name="Group 33">
            <a:extLst>
              <a:ext uri="{FF2B5EF4-FFF2-40B4-BE49-F238E27FC236}">
                <a16:creationId xmlns:a16="http://schemas.microsoft.com/office/drawing/2014/main" id="{3FC6FA9E-D627-45E3-96E4-38BD4F76B8D3}"/>
              </a:ext>
            </a:extLst>
          </p:cNvPr>
          <p:cNvGrpSpPr/>
          <p:nvPr/>
        </p:nvGrpSpPr>
        <p:grpSpPr>
          <a:xfrm flipH="1">
            <a:off x="79562" y="1064774"/>
            <a:ext cx="1706085" cy="845634"/>
            <a:chOff x="58381" y="788294"/>
            <a:chExt cx="1277398" cy="633152"/>
          </a:xfrm>
        </p:grpSpPr>
        <p:sp>
          <p:nvSpPr>
            <p:cNvPr id="35" name="Flowchart: Manual Input 34">
              <a:extLst>
                <a:ext uri="{FF2B5EF4-FFF2-40B4-BE49-F238E27FC236}">
                  <a16:creationId xmlns:a16="http://schemas.microsoft.com/office/drawing/2014/main" id="{E9EF3DB3-D786-429E-8A6E-ABC6E7A41E22}"/>
                </a:ext>
              </a:extLst>
            </p:cNvPr>
            <p:cNvSpPr/>
            <p:nvPr/>
          </p:nvSpPr>
          <p:spPr>
            <a:xfrm>
              <a:off x="120332" y="844126"/>
              <a:ext cx="1215447" cy="577320"/>
            </a:xfrm>
            <a:prstGeom prst="flowChartManualInput">
              <a:avLst/>
            </a:prstGeom>
            <a:solidFill>
              <a:srgbClr val="00B0F0"/>
            </a:solidFill>
            <a:ln w="25400" cap="flat" cmpd="sng" algn="ctr">
              <a:noFill/>
              <a:prstDash val="solid"/>
            </a:ln>
            <a:effectLst/>
          </p:spPr>
          <p:txBody>
            <a:bodyPr rtlCol="0" anchor="ctr"/>
            <a:lstStyle/>
            <a:p>
              <a:pPr algn="ctr">
                <a:defRPr/>
              </a:pPr>
              <a:endParaRPr lang="en-IN" dirty="0">
                <a:solidFill>
                  <a:prstClr val="white"/>
                </a:solidFill>
                <a:latin typeface="Lato" panose="020F0502020204030203"/>
              </a:endParaRPr>
            </a:p>
          </p:txBody>
        </p:sp>
        <p:sp>
          <p:nvSpPr>
            <p:cNvPr id="36" name="Flowchart: Manual Input 35">
              <a:extLst>
                <a:ext uri="{FF2B5EF4-FFF2-40B4-BE49-F238E27FC236}">
                  <a16:creationId xmlns:a16="http://schemas.microsoft.com/office/drawing/2014/main" id="{96D5BD60-9FAB-4DEE-A2E1-3C350F272B1E}"/>
                </a:ext>
              </a:extLst>
            </p:cNvPr>
            <p:cNvSpPr/>
            <p:nvPr/>
          </p:nvSpPr>
          <p:spPr>
            <a:xfrm>
              <a:off x="58381" y="788294"/>
              <a:ext cx="1215447" cy="577320"/>
            </a:xfrm>
            <a:prstGeom prst="flowChartManualInput">
              <a:avLst/>
            </a:prstGeom>
            <a:solidFill>
              <a:srgbClr val="004B87"/>
            </a:solidFill>
            <a:ln w="25400" cap="flat" cmpd="sng" algn="ctr">
              <a:noFill/>
              <a:prstDash val="solid"/>
            </a:ln>
            <a:effectLst/>
          </p:spPr>
          <p:txBody>
            <a:bodyPr rtlCol="0" anchor="ctr"/>
            <a:lstStyle/>
            <a:p>
              <a:pPr algn="ctr">
                <a:defRPr/>
              </a:pPr>
              <a:endParaRPr lang="en-IN" dirty="0">
                <a:solidFill>
                  <a:prstClr val="white"/>
                </a:solidFill>
                <a:latin typeface="Lato" panose="020F0502020204030203"/>
              </a:endParaRPr>
            </a:p>
          </p:txBody>
        </p:sp>
      </p:grpSp>
      <p:sp>
        <p:nvSpPr>
          <p:cNvPr id="37" name="TextBox 36">
            <a:extLst>
              <a:ext uri="{FF2B5EF4-FFF2-40B4-BE49-F238E27FC236}">
                <a16:creationId xmlns:a16="http://schemas.microsoft.com/office/drawing/2014/main" id="{AF3F2EA5-29E2-445D-8F73-CFEEDBA47B63}"/>
              </a:ext>
            </a:extLst>
          </p:cNvPr>
          <p:cNvSpPr txBox="1"/>
          <p:nvPr/>
        </p:nvSpPr>
        <p:spPr>
          <a:xfrm>
            <a:off x="230586" y="1274332"/>
            <a:ext cx="1491644" cy="461665"/>
          </a:xfrm>
          <a:prstGeom prst="rect">
            <a:avLst/>
          </a:prstGeom>
          <a:noFill/>
        </p:spPr>
        <p:txBody>
          <a:bodyPr wrap="square" rtlCol="0">
            <a:spAutoFit/>
          </a:bodyPr>
          <a:lstStyle/>
          <a:p>
            <a:pPr algn="ctr"/>
            <a:r>
              <a:rPr lang="en-IN" sz="1200" b="1" dirty="0">
                <a:solidFill>
                  <a:prstClr val="white"/>
                </a:solidFill>
                <a:latin typeface="Lato" panose="020F0502020204030203"/>
              </a:rPr>
              <a:t>Our Understanding</a:t>
            </a:r>
          </a:p>
        </p:txBody>
      </p:sp>
      <p:sp>
        <p:nvSpPr>
          <p:cNvPr id="38" name="Oval 37">
            <a:extLst>
              <a:ext uri="{FF2B5EF4-FFF2-40B4-BE49-F238E27FC236}">
                <a16:creationId xmlns:a16="http://schemas.microsoft.com/office/drawing/2014/main" id="{10EDA413-1D1A-411B-BA95-C7886A168D11}"/>
              </a:ext>
            </a:extLst>
          </p:cNvPr>
          <p:cNvSpPr/>
          <p:nvPr/>
        </p:nvSpPr>
        <p:spPr>
          <a:xfrm>
            <a:off x="801927" y="2298190"/>
            <a:ext cx="174481" cy="174481"/>
          </a:xfrm>
          <a:prstGeom prst="ellipse">
            <a:avLst/>
          </a:prstGeom>
          <a:noFill/>
          <a:ln w="9525" cap="flat" cmpd="sng" algn="ctr">
            <a:solidFill>
              <a:sysClr val="windowText" lastClr="000000">
                <a:lumMod val="65000"/>
                <a:lumOff val="35000"/>
              </a:sysClr>
            </a:solidFill>
            <a:prstDash val="solid"/>
          </a:ln>
          <a:effectLst/>
        </p:spPr>
        <p:txBody>
          <a:bodyPr rtlCol="0" anchor="ctr"/>
          <a:lstStyle/>
          <a:p>
            <a:pPr algn="ctr">
              <a:defRPr/>
            </a:pPr>
            <a:endParaRPr lang="en-IN" dirty="0">
              <a:solidFill>
                <a:prstClr val="white"/>
              </a:solidFill>
              <a:latin typeface="Lato" panose="020F0502020204030203"/>
            </a:endParaRPr>
          </a:p>
        </p:txBody>
      </p:sp>
      <p:cxnSp>
        <p:nvCxnSpPr>
          <p:cNvPr id="39" name="Straight Arrow Connector 38">
            <a:extLst>
              <a:ext uri="{FF2B5EF4-FFF2-40B4-BE49-F238E27FC236}">
                <a16:creationId xmlns:a16="http://schemas.microsoft.com/office/drawing/2014/main" id="{8B484049-78F6-4133-8307-C00412454BCB}"/>
              </a:ext>
            </a:extLst>
          </p:cNvPr>
          <p:cNvCxnSpPr/>
          <p:nvPr/>
        </p:nvCxnSpPr>
        <p:spPr>
          <a:xfrm>
            <a:off x="889168" y="2218449"/>
            <a:ext cx="827" cy="91440"/>
          </a:xfrm>
          <a:prstGeom prst="straightConnector1">
            <a:avLst/>
          </a:prstGeom>
          <a:noFill/>
          <a:ln w="9525" cap="flat" cmpd="sng" algn="ctr">
            <a:solidFill>
              <a:sysClr val="windowText" lastClr="000000">
                <a:lumMod val="65000"/>
                <a:lumOff val="35000"/>
              </a:sysClr>
            </a:solidFill>
            <a:prstDash val="solid"/>
            <a:tailEnd type="none"/>
          </a:ln>
          <a:effectLst/>
        </p:spPr>
      </p:cxnSp>
      <p:sp>
        <p:nvSpPr>
          <p:cNvPr id="40" name="Flowchart: Manual Input 39">
            <a:extLst>
              <a:ext uri="{FF2B5EF4-FFF2-40B4-BE49-F238E27FC236}">
                <a16:creationId xmlns:a16="http://schemas.microsoft.com/office/drawing/2014/main" id="{51D7045F-3A5A-4614-90D8-F060F5E0BEF1}"/>
              </a:ext>
            </a:extLst>
          </p:cNvPr>
          <p:cNvSpPr/>
          <p:nvPr/>
        </p:nvSpPr>
        <p:spPr>
          <a:xfrm flipH="1">
            <a:off x="45239" y="2351395"/>
            <a:ext cx="1623343" cy="771065"/>
          </a:xfrm>
          <a:prstGeom prst="flowChartManualInput">
            <a:avLst/>
          </a:prstGeom>
          <a:solidFill>
            <a:schemeClr val="accent2">
              <a:lumMod val="60000"/>
              <a:lumOff val="40000"/>
            </a:schemeClr>
          </a:solidFill>
          <a:ln w="25400" cap="flat" cmpd="sng" algn="ctr">
            <a:noFill/>
            <a:prstDash val="solid"/>
          </a:ln>
          <a:effectLst/>
        </p:spPr>
        <p:txBody>
          <a:bodyPr rtlCol="0" anchor="ctr"/>
          <a:lstStyle/>
          <a:p>
            <a:pPr algn="ctr">
              <a:defRPr/>
            </a:pPr>
            <a:endParaRPr lang="en-IN" dirty="0">
              <a:solidFill>
                <a:prstClr val="white"/>
              </a:solidFill>
              <a:latin typeface="Lato" panose="020F0502020204030203"/>
            </a:endParaRPr>
          </a:p>
        </p:txBody>
      </p:sp>
      <p:sp>
        <p:nvSpPr>
          <p:cNvPr id="41" name="Flowchart: Manual Input 40">
            <a:extLst>
              <a:ext uri="{FF2B5EF4-FFF2-40B4-BE49-F238E27FC236}">
                <a16:creationId xmlns:a16="http://schemas.microsoft.com/office/drawing/2014/main" id="{6D93A572-E4E3-45EA-A38B-5C86BB99898A}"/>
              </a:ext>
            </a:extLst>
          </p:cNvPr>
          <p:cNvSpPr/>
          <p:nvPr/>
        </p:nvSpPr>
        <p:spPr>
          <a:xfrm flipH="1">
            <a:off x="127980" y="2364089"/>
            <a:ext cx="1623343" cy="771065"/>
          </a:xfrm>
          <a:prstGeom prst="flowChartManualInput">
            <a:avLst/>
          </a:prstGeom>
          <a:solidFill>
            <a:schemeClr val="accent2">
              <a:lumMod val="75000"/>
            </a:schemeClr>
          </a:solidFill>
          <a:ln w="25400" cap="flat" cmpd="sng" algn="ctr">
            <a:noFill/>
            <a:prstDash val="solid"/>
          </a:ln>
          <a:effectLst/>
        </p:spPr>
        <p:txBody>
          <a:bodyPr rtlCol="0" anchor="ctr"/>
          <a:lstStyle/>
          <a:p>
            <a:pPr algn="ctr">
              <a:defRPr/>
            </a:pPr>
            <a:endParaRPr lang="en-IN" dirty="0">
              <a:solidFill>
                <a:prstClr val="white"/>
              </a:solidFill>
              <a:latin typeface="Lato" panose="020F0502020204030203"/>
            </a:endParaRPr>
          </a:p>
        </p:txBody>
      </p:sp>
      <p:sp>
        <p:nvSpPr>
          <p:cNvPr id="42" name="TextBox 41">
            <a:extLst>
              <a:ext uri="{FF2B5EF4-FFF2-40B4-BE49-F238E27FC236}">
                <a16:creationId xmlns:a16="http://schemas.microsoft.com/office/drawing/2014/main" id="{155B8E38-B4A4-473E-B70C-40E80F7F57FF}"/>
              </a:ext>
            </a:extLst>
          </p:cNvPr>
          <p:cNvSpPr txBox="1"/>
          <p:nvPr/>
        </p:nvSpPr>
        <p:spPr>
          <a:xfrm>
            <a:off x="152429" y="2572472"/>
            <a:ext cx="1560359" cy="461665"/>
          </a:xfrm>
          <a:prstGeom prst="rect">
            <a:avLst/>
          </a:prstGeom>
          <a:noFill/>
        </p:spPr>
        <p:txBody>
          <a:bodyPr wrap="square" rtlCol="0">
            <a:spAutoFit/>
          </a:bodyPr>
          <a:lstStyle/>
          <a:p>
            <a:pPr algn="ctr"/>
            <a:r>
              <a:rPr lang="en-IN" sz="1200" b="1" dirty="0">
                <a:solidFill>
                  <a:prstClr val="white"/>
                </a:solidFill>
                <a:latin typeface="Lato" panose="020F0502020204030203"/>
              </a:rPr>
              <a:t>Engagement</a:t>
            </a:r>
          </a:p>
          <a:p>
            <a:pPr algn="ctr"/>
            <a:r>
              <a:rPr lang="en-IN" sz="1200" b="1" dirty="0">
                <a:solidFill>
                  <a:prstClr val="white"/>
                </a:solidFill>
                <a:latin typeface="Lato" panose="020F0502020204030203"/>
              </a:rPr>
              <a:t>Scope</a:t>
            </a:r>
          </a:p>
        </p:txBody>
      </p:sp>
      <p:sp>
        <p:nvSpPr>
          <p:cNvPr id="20" name="TextBox 19">
            <a:extLst>
              <a:ext uri="{FF2B5EF4-FFF2-40B4-BE49-F238E27FC236}">
                <a16:creationId xmlns:a16="http://schemas.microsoft.com/office/drawing/2014/main" id="{F40213CE-D6F8-4B42-94C6-F716DEE9DF2C}"/>
              </a:ext>
            </a:extLst>
          </p:cNvPr>
          <p:cNvSpPr txBox="1"/>
          <p:nvPr/>
        </p:nvSpPr>
        <p:spPr>
          <a:xfrm>
            <a:off x="1864080" y="2533278"/>
            <a:ext cx="6116138" cy="3847207"/>
          </a:xfrm>
          <a:prstGeom prst="rect">
            <a:avLst/>
          </a:prstGeom>
          <a:noFill/>
          <a:ln w="12700" cap="flat">
            <a:solidFill>
              <a:schemeClr val="tx1"/>
            </a:solidFill>
            <a:prstDash val="sysDash"/>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182880" tIns="182880" rIns="182880" bIns="182880" numCol="1" spcCol="38100" rtlCol="0" anchor="t">
            <a:spAutoFit/>
          </a:bodyPr>
          <a:lstStyle/>
          <a:p>
            <a:pPr algn="just">
              <a:spcBef>
                <a:spcPts val="200"/>
              </a:spcBef>
              <a:spcAft>
                <a:spcPts val="200"/>
              </a:spcAft>
              <a:buSzPct val="100000"/>
            </a:pPr>
            <a:r>
              <a:rPr lang="en-US" sz="1400" dirty="0">
                <a:latin typeface="Lato" panose="020F0502020204030203"/>
              </a:rPr>
              <a:t>From the discussion with Nasdaq team, Innominds has identified following activities as part of the Scope to achieve the desired objective:</a:t>
            </a:r>
          </a:p>
          <a:p>
            <a:pPr algn="just">
              <a:spcBef>
                <a:spcPts val="200"/>
              </a:spcBef>
              <a:spcAft>
                <a:spcPts val="200"/>
              </a:spcAft>
              <a:buSzPct val="100000"/>
            </a:pPr>
            <a:endParaRPr lang="en-US" sz="1400" dirty="0">
              <a:latin typeface="Lato" panose="020F0502020204030203"/>
            </a:endParaRPr>
          </a:p>
          <a:p>
            <a:pPr marL="171450" indent="-171450" algn="just">
              <a:spcBef>
                <a:spcPts val="200"/>
              </a:spcBef>
              <a:spcAft>
                <a:spcPts val="200"/>
              </a:spcAft>
              <a:buSzPct val="100000"/>
              <a:buFont typeface="Arial" panose="020B0604020202020204" pitchFamily="34" charset="0"/>
              <a:buChar char="•"/>
            </a:pPr>
            <a:r>
              <a:rPr lang="en-US" sz="1400" dirty="0">
                <a:latin typeface="Lato" panose="020F0502020204030203"/>
              </a:rPr>
              <a:t>Understand Nasdaq applications and its components/modules and functional flows</a:t>
            </a:r>
          </a:p>
          <a:p>
            <a:pPr marL="171450" indent="-171450" algn="just">
              <a:spcBef>
                <a:spcPts val="200"/>
              </a:spcBef>
              <a:spcAft>
                <a:spcPts val="200"/>
              </a:spcAft>
              <a:buSzPct val="100000"/>
              <a:buFont typeface="Arial" panose="020B0604020202020204" pitchFamily="34" charset="0"/>
              <a:buChar char="•"/>
            </a:pPr>
            <a:r>
              <a:rPr lang="en-US" sz="1400" dirty="0">
                <a:latin typeface="Lato" panose="020F0502020204030203"/>
              </a:rPr>
              <a:t>Analyze the existing classes and methods of the target application and identify positive and negative scenarios </a:t>
            </a:r>
          </a:p>
          <a:p>
            <a:pPr marL="171450" indent="-171450" algn="just">
              <a:spcBef>
                <a:spcPts val="200"/>
              </a:spcBef>
              <a:spcAft>
                <a:spcPts val="200"/>
              </a:spcAft>
              <a:buSzPct val="100000"/>
              <a:buFont typeface="Arial" panose="020B0604020202020204" pitchFamily="34" charset="0"/>
              <a:buChar char="•"/>
            </a:pPr>
            <a:r>
              <a:rPr lang="en-US" sz="1400" dirty="0">
                <a:latin typeface="Lato" panose="020F0502020204030203"/>
              </a:rPr>
              <a:t>Develop unit test cases, stubs and drivers covering all the methods identified using Junit Framework</a:t>
            </a:r>
          </a:p>
          <a:p>
            <a:pPr marL="171450" indent="-171450" algn="just">
              <a:spcBef>
                <a:spcPts val="200"/>
              </a:spcBef>
              <a:spcAft>
                <a:spcPts val="200"/>
              </a:spcAft>
              <a:buSzPct val="100000"/>
              <a:buFont typeface="Arial" panose="020B0604020202020204" pitchFamily="34" charset="0"/>
              <a:buChar char="•"/>
            </a:pPr>
            <a:r>
              <a:rPr lang="en-US" sz="1400" dirty="0">
                <a:latin typeface="Lato" panose="020F0502020204030203"/>
              </a:rPr>
              <a:t>Integration testing and End-to-end testing through test automation</a:t>
            </a:r>
          </a:p>
          <a:p>
            <a:pPr marL="171450" indent="-171450" algn="just">
              <a:spcBef>
                <a:spcPts val="200"/>
              </a:spcBef>
              <a:spcAft>
                <a:spcPts val="200"/>
              </a:spcAft>
              <a:buSzPct val="100000"/>
              <a:buFont typeface="Arial" panose="020B0604020202020204" pitchFamily="34" charset="0"/>
              <a:buChar char="•"/>
            </a:pPr>
            <a:r>
              <a:rPr lang="en-US" sz="1400" dirty="0">
                <a:latin typeface="Lato" panose="020F0502020204030203"/>
              </a:rPr>
              <a:t>Implement industry best practices and techniques to optimize the test suite</a:t>
            </a:r>
          </a:p>
          <a:p>
            <a:pPr marL="171450" indent="-171450" algn="just">
              <a:spcBef>
                <a:spcPts val="200"/>
              </a:spcBef>
              <a:spcAft>
                <a:spcPts val="200"/>
              </a:spcAft>
              <a:buSzPct val="100000"/>
              <a:buFont typeface="Arial" panose="020B0604020202020204" pitchFamily="34" charset="0"/>
              <a:buChar char="•"/>
            </a:pPr>
            <a:r>
              <a:rPr lang="en-US" sz="1400" dirty="0">
                <a:latin typeface="Lato" panose="020F0502020204030203"/>
              </a:rPr>
              <a:t>Execute test cases using various techniques</a:t>
            </a:r>
          </a:p>
          <a:p>
            <a:pPr marL="171450" indent="-171450" algn="just">
              <a:spcBef>
                <a:spcPts val="200"/>
              </a:spcBef>
              <a:spcAft>
                <a:spcPts val="200"/>
              </a:spcAft>
              <a:buSzPct val="100000"/>
              <a:buFont typeface="Arial" panose="020B0604020202020204" pitchFamily="34" charset="0"/>
              <a:buChar char="•"/>
            </a:pPr>
            <a:r>
              <a:rPr lang="en-US" sz="1400" dirty="0">
                <a:latin typeface="Lato" panose="020F0502020204030203"/>
              </a:rPr>
              <a:t>Publish test results and obtain Nasdaq team's sign-off</a:t>
            </a:r>
          </a:p>
        </p:txBody>
      </p:sp>
      <p:grpSp>
        <p:nvGrpSpPr>
          <p:cNvPr id="45" name="Group 44">
            <a:extLst>
              <a:ext uri="{FF2B5EF4-FFF2-40B4-BE49-F238E27FC236}">
                <a16:creationId xmlns:a16="http://schemas.microsoft.com/office/drawing/2014/main" id="{B5FB2098-A97B-4988-80A3-348A6064C9EC}"/>
              </a:ext>
            </a:extLst>
          </p:cNvPr>
          <p:cNvGrpSpPr/>
          <p:nvPr/>
        </p:nvGrpSpPr>
        <p:grpSpPr>
          <a:xfrm>
            <a:off x="8501502" y="2572472"/>
            <a:ext cx="3322312" cy="3774201"/>
            <a:chOff x="8774208" y="2072880"/>
            <a:chExt cx="3322312" cy="3774201"/>
          </a:xfrm>
        </p:grpSpPr>
        <p:grpSp>
          <p:nvGrpSpPr>
            <p:cNvPr id="52" name="Group 51">
              <a:extLst>
                <a:ext uri="{FF2B5EF4-FFF2-40B4-BE49-F238E27FC236}">
                  <a16:creationId xmlns:a16="http://schemas.microsoft.com/office/drawing/2014/main" id="{63B103D3-20B9-4CD3-909F-C9FA23C45859}"/>
                </a:ext>
              </a:extLst>
            </p:cNvPr>
            <p:cNvGrpSpPr/>
            <p:nvPr/>
          </p:nvGrpSpPr>
          <p:grpSpPr>
            <a:xfrm>
              <a:off x="8774208" y="2072880"/>
              <a:ext cx="3322312" cy="3774201"/>
              <a:chOff x="4713188" y="57150"/>
              <a:chExt cx="4398130" cy="6305942"/>
            </a:xfrm>
          </p:grpSpPr>
          <p:sp>
            <p:nvSpPr>
              <p:cNvPr id="54" name="Rectangle 53">
                <a:extLst>
                  <a:ext uri="{FF2B5EF4-FFF2-40B4-BE49-F238E27FC236}">
                    <a16:creationId xmlns:a16="http://schemas.microsoft.com/office/drawing/2014/main" id="{11BC1000-248D-4B30-8623-D5575D0AB172}"/>
                  </a:ext>
                </a:extLst>
              </p:cNvPr>
              <p:cNvSpPr/>
              <p:nvPr/>
            </p:nvSpPr>
            <p:spPr>
              <a:xfrm>
                <a:off x="4713188" y="62130"/>
                <a:ext cx="4394495" cy="5355280"/>
              </a:xfrm>
              <a:prstGeom prst="rect">
                <a:avLst/>
              </a:prstGeom>
              <a:noFill/>
              <a:ln w="3175">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804" hangingPunct="0"/>
                <a:endParaRPr lang="en-US" sz="1866" kern="0" dirty="0">
                  <a:solidFill>
                    <a:srgbClr val="FFFFFF"/>
                  </a:solidFill>
                  <a:latin typeface="Lato" panose="020F0502020204030203"/>
                  <a:sym typeface="Arial"/>
                </a:endParaRPr>
              </a:p>
            </p:txBody>
          </p:sp>
          <p:sp>
            <p:nvSpPr>
              <p:cNvPr id="55" name="Flowchart: Manual Input 21">
                <a:extLst>
                  <a:ext uri="{FF2B5EF4-FFF2-40B4-BE49-F238E27FC236}">
                    <a16:creationId xmlns:a16="http://schemas.microsoft.com/office/drawing/2014/main" id="{C13CAE82-F77A-45B7-8EE7-B302C5DEB479}"/>
                  </a:ext>
                </a:extLst>
              </p:cNvPr>
              <p:cNvSpPr/>
              <p:nvPr/>
            </p:nvSpPr>
            <p:spPr>
              <a:xfrm flipH="1">
                <a:off x="4713188" y="57150"/>
                <a:ext cx="4398130" cy="6305942"/>
              </a:xfrm>
              <a:prstGeom prst="flowChartManualInput">
                <a:avLst/>
              </a:prstGeom>
              <a:solidFill>
                <a:srgbClr val="3D4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804" hangingPunct="0"/>
                <a:endParaRPr lang="en-US" sz="1866" kern="0" dirty="0">
                  <a:solidFill>
                    <a:srgbClr val="FFFFFF"/>
                  </a:solidFill>
                  <a:latin typeface="Lato" panose="020F0502020204030203"/>
                  <a:sym typeface="Arial"/>
                </a:endParaRPr>
              </a:p>
            </p:txBody>
          </p:sp>
          <p:sp>
            <p:nvSpPr>
              <p:cNvPr id="56" name="Rectangle 47">
                <a:extLst>
                  <a:ext uri="{FF2B5EF4-FFF2-40B4-BE49-F238E27FC236}">
                    <a16:creationId xmlns:a16="http://schemas.microsoft.com/office/drawing/2014/main" id="{34E11CFB-A756-4962-8DFE-65E43FE2848E}"/>
                  </a:ext>
                </a:extLst>
              </p:cNvPr>
              <p:cNvSpPr/>
              <p:nvPr/>
            </p:nvSpPr>
            <p:spPr>
              <a:xfrm>
                <a:off x="4807257" y="277764"/>
                <a:ext cx="4207591" cy="5908951"/>
              </a:xfrm>
              <a:custGeom>
                <a:avLst/>
                <a:gdLst>
                  <a:gd name="connsiteX0" fmla="*/ 0 w 3600400"/>
                  <a:gd name="connsiteY0" fmla="*/ 0 h 3619626"/>
                  <a:gd name="connsiteX1" fmla="*/ 3600400 w 3600400"/>
                  <a:gd name="connsiteY1" fmla="*/ 0 h 3619626"/>
                  <a:gd name="connsiteX2" fmla="*/ 3600400 w 3600400"/>
                  <a:gd name="connsiteY2" fmla="*/ 3619626 h 3619626"/>
                  <a:gd name="connsiteX3" fmla="*/ 0 w 3600400"/>
                  <a:gd name="connsiteY3" fmla="*/ 3619626 h 3619626"/>
                  <a:gd name="connsiteX4" fmla="*/ 0 w 3600400"/>
                  <a:gd name="connsiteY4" fmla="*/ 0 h 3619626"/>
                  <a:gd name="connsiteX0" fmla="*/ 0 w 3619450"/>
                  <a:gd name="connsiteY0" fmla="*/ 0 h 3619626"/>
                  <a:gd name="connsiteX1" fmla="*/ 3619450 w 3619450"/>
                  <a:gd name="connsiteY1" fmla="*/ 590550 h 3619626"/>
                  <a:gd name="connsiteX2" fmla="*/ 3600400 w 3619450"/>
                  <a:gd name="connsiteY2" fmla="*/ 3619626 h 3619626"/>
                  <a:gd name="connsiteX3" fmla="*/ 0 w 3619450"/>
                  <a:gd name="connsiteY3" fmla="*/ 3619626 h 3619626"/>
                  <a:gd name="connsiteX4" fmla="*/ 0 w 3619450"/>
                  <a:gd name="connsiteY4" fmla="*/ 0 h 3619626"/>
                  <a:gd name="connsiteX0" fmla="*/ 0 w 3628975"/>
                  <a:gd name="connsiteY0" fmla="*/ 0 h 3714876"/>
                  <a:gd name="connsiteX1" fmla="*/ 3628975 w 3628975"/>
                  <a:gd name="connsiteY1" fmla="*/ 685800 h 3714876"/>
                  <a:gd name="connsiteX2" fmla="*/ 3609925 w 3628975"/>
                  <a:gd name="connsiteY2" fmla="*/ 3714876 h 3714876"/>
                  <a:gd name="connsiteX3" fmla="*/ 9525 w 3628975"/>
                  <a:gd name="connsiteY3" fmla="*/ 3714876 h 3714876"/>
                  <a:gd name="connsiteX4" fmla="*/ 0 w 3628975"/>
                  <a:gd name="connsiteY4" fmla="*/ 0 h 3714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8975" h="3714876">
                    <a:moveTo>
                      <a:pt x="0" y="0"/>
                    </a:moveTo>
                    <a:lnTo>
                      <a:pt x="3628975" y="685800"/>
                    </a:lnTo>
                    <a:lnTo>
                      <a:pt x="3609925" y="3714876"/>
                    </a:lnTo>
                    <a:lnTo>
                      <a:pt x="9525" y="3714876"/>
                    </a:lnTo>
                    <a:lnTo>
                      <a:pt x="0" y="0"/>
                    </a:lnTo>
                    <a:close/>
                  </a:path>
                </a:pathLst>
              </a:custGeom>
              <a:noFill/>
              <a:ln w="63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804" hangingPunct="0"/>
                <a:endParaRPr lang="en-US" sz="1866" kern="0" dirty="0">
                  <a:solidFill>
                    <a:srgbClr val="FFFFFF"/>
                  </a:solidFill>
                  <a:latin typeface="Lato" panose="020F0502020204030203"/>
                  <a:sym typeface="Arial"/>
                </a:endParaRPr>
              </a:p>
            </p:txBody>
          </p:sp>
        </p:grpSp>
        <p:sp>
          <p:nvSpPr>
            <p:cNvPr id="53" name="TextBox 52">
              <a:extLst>
                <a:ext uri="{FF2B5EF4-FFF2-40B4-BE49-F238E27FC236}">
                  <a16:creationId xmlns:a16="http://schemas.microsoft.com/office/drawing/2014/main" id="{76523DD4-1689-4492-A3BB-612D4A5DB0B2}"/>
                </a:ext>
              </a:extLst>
            </p:cNvPr>
            <p:cNvSpPr txBox="1"/>
            <p:nvPr/>
          </p:nvSpPr>
          <p:spPr>
            <a:xfrm>
              <a:off x="8886964" y="2621481"/>
              <a:ext cx="3147972" cy="3162402"/>
            </a:xfrm>
            <a:prstGeom prst="rect">
              <a:avLst/>
            </a:prstGeom>
            <a:noFill/>
            <a:ln w="12700" cap="flat">
              <a:no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71755" lvl="1">
                <a:spcBef>
                  <a:spcPts val="300"/>
                </a:spcBef>
                <a:buClr>
                  <a:schemeClr val="accent2">
                    <a:lumMod val="75000"/>
                  </a:schemeClr>
                </a:buClr>
                <a:buSzPct val="100000"/>
                <a:tabLst>
                  <a:tab pos="270510" algn="l"/>
                </a:tabLst>
                <a:defRPr/>
              </a:pPr>
              <a:r>
                <a:rPr lang="en-US" sz="1400" b="1" dirty="0">
                  <a:solidFill>
                    <a:schemeClr val="bg1"/>
                  </a:solidFill>
                  <a:latin typeface="Lato" panose="020F0502020204030203"/>
                  <a:cs typeface="Times New Roman"/>
                  <a:sym typeface="Arial" panose="020B0604020202020204"/>
                </a:rPr>
                <a:t>Modules Under Scope:</a:t>
              </a:r>
            </a:p>
            <a:p>
              <a:pPr marL="171450" marR="71755" lvl="1" indent="-171450">
                <a:spcBef>
                  <a:spcPts val="300"/>
                </a:spcBef>
                <a:buClr>
                  <a:schemeClr val="bg1"/>
                </a:buClr>
                <a:buSzPct val="100000"/>
                <a:buFont typeface="Arial" panose="020B0604020202020204" pitchFamily="34" charset="0"/>
                <a:buChar char="•"/>
                <a:tabLst>
                  <a:tab pos="270510" algn="l"/>
                </a:tabLst>
                <a:defRPr/>
              </a:pPr>
              <a:r>
                <a:rPr lang="fr-FR" sz="1200" dirty="0">
                  <a:solidFill>
                    <a:schemeClr val="bg1"/>
                  </a:solidFill>
                  <a:latin typeface="Lato" panose="020F0502020204030203"/>
                  <a:cs typeface="Times New Roman"/>
                </a:rPr>
                <a:t>Index Workstation</a:t>
              </a:r>
            </a:p>
            <a:p>
              <a:pPr marL="171450" marR="71755" lvl="1" indent="-171450">
                <a:spcBef>
                  <a:spcPts val="300"/>
                </a:spcBef>
                <a:buClr>
                  <a:schemeClr val="bg1"/>
                </a:buClr>
                <a:buSzPct val="100000"/>
                <a:buFont typeface="Arial" panose="020B0604020202020204" pitchFamily="34" charset="0"/>
                <a:buChar char="•"/>
                <a:tabLst>
                  <a:tab pos="270510" algn="l"/>
                </a:tabLst>
                <a:defRPr/>
              </a:pPr>
              <a:r>
                <a:rPr lang="fr-FR" sz="1200" dirty="0">
                  <a:solidFill>
                    <a:schemeClr val="bg1"/>
                  </a:solidFill>
                  <a:latin typeface="Lato" panose="020F0502020204030203"/>
                  <a:cs typeface="Times New Roman"/>
                </a:rPr>
                <a:t>GIFFD – FTP Offline</a:t>
              </a:r>
            </a:p>
            <a:p>
              <a:pPr marL="171450" marR="71755" lvl="1" indent="-171450">
                <a:spcBef>
                  <a:spcPts val="300"/>
                </a:spcBef>
                <a:buClr>
                  <a:schemeClr val="bg1"/>
                </a:buClr>
                <a:buSzPct val="100000"/>
                <a:buFont typeface="Arial" panose="020B0604020202020204" pitchFamily="34" charset="0"/>
                <a:buChar char="•"/>
                <a:tabLst>
                  <a:tab pos="270510" algn="l"/>
                </a:tabLst>
                <a:defRPr/>
              </a:pPr>
              <a:r>
                <a:rPr lang="fr-FR" sz="1200" dirty="0">
                  <a:solidFill>
                    <a:schemeClr val="bg1"/>
                  </a:solidFill>
                  <a:latin typeface="Lato" panose="020F0502020204030203"/>
                  <a:cs typeface="Times New Roman"/>
                </a:rPr>
                <a:t>GIFFD – FTP Scheduler</a:t>
              </a:r>
            </a:p>
            <a:p>
              <a:pPr marL="171450" marR="71755" lvl="1" indent="-171450">
                <a:spcBef>
                  <a:spcPts val="300"/>
                </a:spcBef>
                <a:buClr>
                  <a:schemeClr val="bg1"/>
                </a:buClr>
                <a:buSzPct val="100000"/>
                <a:buFont typeface="Arial" panose="020B0604020202020204" pitchFamily="34" charset="0"/>
                <a:buChar char="•"/>
                <a:tabLst>
                  <a:tab pos="270510" algn="l"/>
                </a:tabLst>
                <a:defRPr/>
              </a:pPr>
              <a:r>
                <a:rPr lang="fr-FR" sz="1200" dirty="0">
                  <a:solidFill>
                    <a:schemeClr val="bg1"/>
                  </a:solidFill>
                  <a:latin typeface="Lato" panose="020F0502020204030203"/>
                  <a:cs typeface="Times New Roman"/>
                </a:rPr>
                <a:t>GIFFD – FTP (Generator)</a:t>
              </a:r>
            </a:p>
            <a:p>
              <a:pPr marL="171450" marR="71755" lvl="1" indent="-171450">
                <a:spcBef>
                  <a:spcPts val="300"/>
                </a:spcBef>
                <a:buClr>
                  <a:schemeClr val="bg1"/>
                </a:buClr>
                <a:buSzPct val="100000"/>
                <a:buFont typeface="Arial" panose="020B0604020202020204" pitchFamily="34" charset="0"/>
                <a:buChar char="•"/>
                <a:tabLst>
                  <a:tab pos="270510" algn="l"/>
                </a:tabLst>
                <a:defRPr/>
              </a:pPr>
              <a:r>
                <a:rPr lang="fr-FR" sz="1200" dirty="0">
                  <a:solidFill>
                    <a:schemeClr val="bg1"/>
                  </a:solidFill>
                  <a:latin typeface="Lato" panose="020F0502020204030203"/>
                  <a:cs typeface="Times New Roman"/>
                </a:rPr>
                <a:t>Index Manager</a:t>
              </a:r>
            </a:p>
            <a:p>
              <a:pPr marL="171450" marR="71755" lvl="1" indent="-171450">
                <a:spcBef>
                  <a:spcPts val="300"/>
                </a:spcBef>
                <a:buClr>
                  <a:schemeClr val="bg1"/>
                </a:buClr>
                <a:buSzPct val="100000"/>
                <a:buFont typeface="Arial" panose="020B0604020202020204" pitchFamily="34" charset="0"/>
                <a:buChar char="•"/>
                <a:tabLst>
                  <a:tab pos="270510" algn="l"/>
                </a:tabLst>
                <a:defRPr/>
              </a:pPr>
              <a:r>
                <a:rPr lang="fr-FR" sz="1200" dirty="0">
                  <a:solidFill>
                    <a:schemeClr val="bg1"/>
                  </a:solidFill>
                  <a:latin typeface="Lato" panose="020F0502020204030203"/>
                  <a:cs typeface="Times New Roman"/>
                  <a:sym typeface="Arial" panose="020B0604020202020204"/>
                </a:rPr>
                <a:t>GIC Core</a:t>
              </a:r>
              <a:endParaRPr lang="en-US" sz="1400" dirty="0">
                <a:solidFill>
                  <a:schemeClr val="bg1"/>
                </a:solidFill>
                <a:latin typeface="Lato" panose="020F0502020204030203"/>
                <a:cs typeface="Times New Roman"/>
                <a:sym typeface="Arial" panose="020B0604020202020204"/>
              </a:endParaRPr>
            </a:p>
            <a:p>
              <a:pPr marL="0" marR="71755" lvl="1">
                <a:spcBef>
                  <a:spcPts val="300"/>
                </a:spcBef>
                <a:buClr>
                  <a:schemeClr val="accent2">
                    <a:lumMod val="75000"/>
                  </a:schemeClr>
                </a:buClr>
                <a:buSzPct val="100000"/>
                <a:tabLst>
                  <a:tab pos="270510" algn="l"/>
                </a:tabLst>
                <a:defRPr/>
              </a:pPr>
              <a:endParaRPr lang="en-US" sz="1400" b="1" dirty="0">
                <a:solidFill>
                  <a:schemeClr val="bg1"/>
                </a:solidFill>
                <a:latin typeface="Lato" panose="020F0502020204030203"/>
                <a:cs typeface="Times New Roman"/>
                <a:sym typeface="Arial" panose="020B0604020202020204"/>
              </a:endParaRPr>
            </a:p>
            <a:p>
              <a:pPr marL="0" marR="71755" lvl="1">
                <a:spcBef>
                  <a:spcPts val="300"/>
                </a:spcBef>
                <a:buClr>
                  <a:schemeClr val="accent2">
                    <a:lumMod val="75000"/>
                  </a:schemeClr>
                </a:buClr>
                <a:buSzPct val="100000"/>
                <a:tabLst>
                  <a:tab pos="270510" algn="l"/>
                </a:tabLst>
                <a:defRPr/>
              </a:pPr>
              <a:r>
                <a:rPr lang="en-US" sz="1400" b="1" dirty="0">
                  <a:solidFill>
                    <a:schemeClr val="bg1"/>
                  </a:solidFill>
                  <a:latin typeface="Lato" panose="020F0502020204030203"/>
                  <a:cs typeface="Times New Roman"/>
                  <a:sym typeface="Arial" panose="020B0604020202020204"/>
                </a:rPr>
                <a:t>Total No. of Lines of Code Across modules</a:t>
              </a:r>
              <a:r>
                <a:rPr lang="en-US" sz="1400" b="1" dirty="0">
                  <a:solidFill>
                    <a:schemeClr val="bg1"/>
                  </a:solidFill>
                  <a:latin typeface="Lato" panose="020F0502020204030203"/>
                  <a:cs typeface="Times New Roman"/>
                </a:rPr>
                <a:t>: </a:t>
              </a:r>
              <a:r>
                <a:rPr lang="en-US" sz="1200" dirty="0">
                  <a:solidFill>
                    <a:schemeClr val="bg1"/>
                  </a:solidFill>
                  <a:latin typeface="Lato" panose="020F0502020204030203"/>
                  <a:cs typeface="Times New Roman"/>
                </a:rPr>
                <a:t>828,571</a:t>
              </a:r>
              <a:endParaRPr lang="en-US" sz="1200" b="1" dirty="0">
                <a:solidFill>
                  <a:schemeClr val="bg1"/>
                </a:solidFill>
                <a:latin typeface="Lato" panose="020F0502020204030203"/>
                <a:cs typeface="Times New Roman"/>
                <a:sym typeface="Arial" panose="020B0604020202020204"/>
              </a:endParaRPr>
            </a:p>
            <a:p>
              <a:pPr marR="71755">
                <a:lnSpc>
                  <a:spcPct val="150000"/>
                </a:lnSpc>
                <a:spcBef>
                  <a:spcPts val="300"/>
                </a:spcBef>
                <a:buClr>
                  <a:schemeClr val="bg1"/>
                </a:buClr>
                <a:buSzPct val="100000"/>
                <a:tabLst>
                  <a:tab pos="270510" algn="l"/>
                </a:tabLst>
                <a:defRPr/>
              </a:pPr>
              <a:r>
                <a:rPr lang="en-US" sz="1400" b="1" dirty="0">
                  <a:solidFill>
                    <a:schemeClr val="bg1"/>
                  </a:solidFill>
                  <a:latin typeface="Lato" panose="020F0502020204030203"/>
                  <a:cs typeface="Times New Roman"/>
                  <a:sym typeface="Arial" panose="020B0604020202020204"/>
                </a:rPr>
                <a:t>Interfaces</a:t>
              </a:r>
              <a:r>
                <a:rPr lang="en-US" sz="1200" b="1" dirty="0">
                  <a:solidFill>
                    <a:schemeClr val="bg1"/>
                  </a:solidFill>
                  <a:latin typeface="Lato" panose="020F0502020204030203"/>
                  <a:cs typeface="Times New Roman"/>
                  <a:sym typeface="Arial" panose="020B0604020202020204"/>
                </a:rPr>
                <a:t>:</a:t>
              </a:r>
              <a:r>
                <a:rPr lang="en-US" sz="1200" dirty="0">
                  <a:solidFill>
                    <a:schemeClr val="bg1"/>
                  </a:solidFill>
                  <a:latin typeface="Lato" panose="020F0502020204030203"/>
                  <a:cs typeface="Times New Roman"/>
                  <a:sym typeface="Arial" panose="020B0604020202020204"/>
                </a:rPr>
                <a:t> Web</a:t>
              </a:r>
            </a:p>
            <a:p>
              <a:pPr marL="0" marR="71755" lvl="1">
                <a:lnSpc>
                  <a:spcPct val="150000"/>
                </a:lnSpc>
                <a:spcBef>
                  <a:spcPts val="300"/>
                </a:spcBef>
                <a:buClr>
                  <a:schemeClr val="bg1"/>
                </a:buClr>
                <a:buSzPct val="100000"/>
                <a:tabLst>
                  <a:tab pos="270510" algn="l"/>
                </a:tabLst>
                <a:defRPr/>
              </a:pPr>
              <a:r>
                <a:rPr lang="en-US" sz="1400" b="1" dirty="0">
                  <a:solidFill>
                    <a:schemeClr val="bg1"/>
                  </a:solidFill>
                  <a:latin typeface="Lato" panose="020F0502020204030203"/>
                  <a:cs typeface="Times New Roman"/>
                  <a:sym typeface="Arial" panose="020B0604020202020204"/>
                </a:rPr>
                <a:t>Tools &amp; Frameworks: </a:t>
              </a:r>
              <a:r>
                <a:rPr lang="en-US" sz="1200" dirty="0">
                  <a:solidFill>
                    <a:schemeClr val="bg1"/>
                  </a:solidFill>
                  <a:latin typeface="Lato" panose="020F0502020204030203"/>
                  <a:cs typeface="Times New Roman"/>
                  <a:sym typeface="Arial" panose="020B0604020202020204"/>
                </a:rPr>
                <a:t>JUnit</a:t>
              </a:r>
            </a:p>
          </p:txBody>
        </p:sp>
      </p:grpSp>
    </p:spTree>
    <p:extLst>
      <p:ext uri="{BB962C8B-B14F-4D97-AF65-F5344CB8AC3E}">
        <p14:creationId xmlns:p14="http://schemas.microsoft.com/office/powerpoint/2010/main" val="138071381"/>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90F17A-2EF6-4BC1-81A2-5A59790732D8}"/>
              </a:ext>
            </a:extLst>
          </p:cNvPr>
          <p:cNvSpPr>
            <a:spLocks noGrp="1"/>
          </p:cNvSpPr>
          <p:nvPr>
            <p:ph type="title"/>
          </p:nvPr>
        </p:nvSpPr>
        <p:spPr/>
        <p:txBody>
          <a:bodyPr/>
          <a:lstStyle/>
          <a:p>
            <a:r>
              <a:rPr lang="en-US" dirty="0"/>
              <a:t>Unit Testing Approach</a:t>
            </a:r>
          </a:p>
        </p:txBody>
      </p:sp>
      <p:sp>
        <p:nvSpPr>
          <p:cNvPr id="16" name="Rounded Rectangle 3">
            <a:extLst>
              <a:ext uri="{FF2B5EF4-FFF2-40B4-BE49-F238E27FC236}">
                <a16:creationId xmlns:a16="http://schemas.microsoft.com/office/drawing/2014/main" id="{42DCEB9D-3152-4153-9B31-9120EC02C42F}"/>
              </a:ext>
            </a:extLst>
          </p:cNvPr>
          <p:cNvSpPr/>
          <p:nvPr/>
        </p:nvSpPr>
        <p:spPr>
          <a:xfrm>
            <a:off x="450233" y="985767"/>
            <a:ext cx="2457342" cy="4804979"/>
          </a:xfrm>
          <a:prstGeom prst="roundRect">
            <a:avLst>
              <a:gd name="adj" fmla="val 4016"/>
            </a:avLst>
          </a:prstGeom>
          <a:solidFill>
            <a:schemeClr val="bg1">
              <a:lumMod val="95000"/>
            </a:schemeClr>
          </a:solidFill>
          <a:ln w="3175">
            <a:solidFill>
              <a:schemeClr val="bg1">
                <a:lumMod val="8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8AE4FF0B-0767-4553-9BE5-88E87D3A7DD3}"/>
              </a:ext>
            </a:extLst>
          </p:cNvPr>
          <p:cNvSpPr/>
          <p:nvPr/>
        </p:nvSpPr>
        <p:spPr>
          <a:xfrm>
            <a:off x="450233" y="1223929"/>
            <a:ext cx="2457342" cy="651828"/>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extBox 17">
            <a:extLst>
              <a:ext uri="{FF2B5EF4-FFF2-40B4-BE49-F238E27FC236}">
                <a16:creationId xmlns:a16="http://schemas.microsoft.com/office/drawing/2014/main" id="{80CC99B9-271C-44C3-B1DF-39A8EA2E1A17}"/>
              </a:ext>
            </a:extLst>
          </p:cNvPr>
          <p:cNvSpPr txBox="1"/>
          <p:nvPr/>
        </p:nvSpPr>
        <p:spPr>
          <a:xfrm>
            <a:off x="465852" y="1979469"/>
            <a:ext cx="2457342" cy="3278462"/>
          </a:xfrm>
          <a:prstGeom prst="rect">
            <a:avLst/>
          </a:prstGeom>
          <a:noFill/>
        </p:spPr>
        <p:txBody>
          <a:bodyPr wrap="square" rtlCol="0">
            <a:spAutoFit/>
          </a:bodyPr>
          <a:lstStyle/>
          <a:p>
            <a:pPr marL="209559" indent="-209559" defTabSz="1097411">
              <a:lnSpc>
                <a:spcPct val="150000"/>
              </a:lnSpc>
              <a:spcAft>
                <a:spcPts val="600"/>
              </a:spcAft>
              <a:buFont typeface="Arial" panose="020B0604020202020204" pitchFamily="34" charset="0"/>
              <a:buChar char="•"/>
            </a:pPr>
            <a:r>
              <a:rPr lang="en-US" sz="1050" b="1" kern="0" dirty="0">
                <a:solidFill>
                  <a:srgbClr val="535353">
                    <a:lumMod val="75000"/>
                  </a:srgbClr>
                </a:solidFill>
                <a:latin typeface="Lato" charset="0"/>
                <a:ea typeface="Lato" charset="0"/>
                <a:cs typeface="Lato" charset="0"/>
                <a:sym typeface="Arial"/>
              </a:rPr>
              <a:t>Knowledge transfer of the application modules in scope from Nasdaq teams</a:t>
            </a:r>
          </a:p>
          <a:p>
            <a:pPr marL="209559" indent="-209559" defTabSz="1097411">
              <a:lnSpc>
                <a:spcPct val="150000"/>
              </a:lnSpc>
              <a:spcAft>
                <a:spcPts val="600"/>
              </a:spcAft>
              <a:buFont typeface="Arial" panose="020B0604020202020204" pitchFamily="34" charset="0"/>
              <a:buChar char="•"/>
            </a:pPr>
            <a:r>
              <a:rPr lang="en-US" sz="1050" b="1" kern="0" dirty="0">
                <a:solidFill>
                  <a:srgbClr val="535353">
                    <a:lumMod val="75000"/>
                  </a:srgbClr>
                </a:solidFill>
                <a:latin typeface="Lato" charset="0"/>
                <a:ea typeface="Lato" charset="0"/>
                <a:cs typeface="Lato" charset="0"/>
                <a:sym typeface="Arial"/>
              </a:rPr>
              <a:t>Understand the existing SDLC processes </a:t>
            </a:r>
          </a:p>
          <a:p>
            <a:pPr marL="209559" indent="-209559" defTabSz="1097411">
              <a:lnSpc>
                <a:spcPct val="150000"/>
              </a:lnSpc>
              <a:spcAft>
                <a:spcPts val="600"/>
              </a:spcAft>
              <a:buFont typeface="Arial" panose="020B0604020202020204" pitchFamily="34" charset="0"/>
              <a:buChar char="•"/>
            </a:pPr>
            <a:r>
              <a:rPr lang="en-US" sz="1050" b="1" kern="0" dirty="0">
                <a:solidFill>
                  <a:srgbClr val="535353">
                    <a:lumMod val="75000"/>
                  </a:srgbClr>
                </a:solidFill>
                <a:latin typeface="Lato" charset="0"/>
                <a:ea typeface="Lato" charset="0"/>
                <a:cs typeface="Lato" charset="0"/>
                <a:sym typeface="Arial"/>
              </a:rPr>
              <a:t>Review application architecture documents </a:t>
            </a:r>
          </a:p>
          <a:p>
            <a:pPr marL="209559" indent="-209559" defTabSz="1097411">
              <a:lnSpc>
                <a:spcPct val="150000"/>
              </a:lnSpc>
              <a:spcAft>
                <a:spcPts val="600"/>
              </a:spcAft>
              <a:buFont typeface="Arial" panose="020B0604020202020204" pitchFamily="34" charset="0"/>
              <a:buChar char="•"/>
            </a:pPr>
            <a:r>
              <a:rPr lang="en-US" sz="1050" b="1" kern="0" dirty="0">
                <a:solidFill>
                  <a:srgbClr val="535353">
                    <a:lumMod val="75000"/>
                  </a:srgbClr>
                </a:solidFill>
                <a:latin typeface="Lato" charset="0"/>
                <a:ea typeface="Lato" charset="0"/>
                <a:cs typeface="Lato" charset="0"/>
                <a:sym typeface="Arial"/>
              </a:rPr>
              <a:t>Agree on test metrics to be captured</a:t>
            </a:r>
          </a:p>
          <a:p>
            <a:pPr marL="209559" indent="-209559" defTabSz="1097411">
              <a:lnSpc>
                <a:spcPct val="150000"/>
              </a:lnSpc>
              <a:spcAft>
                <a:spcPts val="600"/>
              </a:spcAft>
              <a:buFont typeface="Arial" panose="020B0604020202020204" pitchFamily="34" charset="0"/>
              <a:buChar char="•"/>
            </a:pPr>
            <a:r>
              <a:rPr lang="en-US" sz="1050" b="1" kern="0" dirty="0">
                <a:solidFill>
                  <a:srgbClr val="535353">
                    <a:lumMod val="75000"/>
                  </a:srgbClr>
                </a:solidFill>
                <a:latin typeface="Lato" charset="0"/>
                <a:ea typeface="Lato" charset="0"/>
                <a:cs typeface="Lato" charset="0"/>
                <a:sym typeface="Arial"/>
              </a:rPr>
              <a:t>Identify key points of contact and agree on communication model for the engagement</a:t>
            </a:r>
          </a:p>
        </p:txBody>
      </p:sp>
      <p:sp>
        <p:nvSpPr>
          <p:cNvPr id="19" name="Oval 4">
            <a:extLst>
              <a:ext uri="{FF2B5EF4-FFF2-40B4-BE49-F238E27FC236}">
                <a16:creationId xmlns:a16="http://schemas.microsoft.com/office/drawing/2014/main" id="{CF005DF0-2539-46AB-B30F-20989A985AEA}"/>
              </a:ext>
            </a:extLst>
          </p:cNvPr>
          <p:cNvSpPr/>
          <p:nvPr/>
        </p:nvSpPr>
        <p:spPr>
          <a:xfrm>
            <a:off x="751020" y="1261440"/>
            <a:ext cx="1666752" cy="57680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533400">
              <a:lnSpc>
                <a:spcPct val="90000"/>
              </a:lnSpc>
              <a:spcBef>
                <a:spcPct val="0"/>
              </a:spcBef>
              <a:spcAft>
                <a:spcPct val="35000"/>
              </a:spcAft>
            </a:pPr>
            <a:r>
              <a:rPr lang="en-US" sz="1400" dirty="0">
                <a:solidFill>
                  <a:schemeClr val="bg1"/>
                </a:solidFill>
                <a:latin typeface="Lato" panose="020F0502020204030203"/>
              </a:rPr>
              <a:t>Discover</a:t>
            </a:r>
          </a:p>
        </p:txBody>
      </p:sp>
      <p:sp>
        <p:nvSpPr>
          <p:cNvPr id="21" name="Rounded Rectangle 8">
            <a:extLst>
              <a:ext uri="{FF2B5EF4-FFF2-40B4-BE49-F238E27FC236}">
                <a16:creationId xmlns:a16="http://schemas.microsoft.com/office/drawing/2014/main" id="{94002FE3-A960-445F-9E3B-4EF28ED21113}"/>
              </a:ext>
            </a:extLst>
          </p:cNvPr>
          <p:cNvSpPr/>
          <p:nvPr/>
        </p:nvSpPr>
        <p:spPr>
          <a:xfrm>
            <a:off x="9327394" y="985767"/>
            <a:ext cx="2457342" cy="4798087"/>
          </a:xfrm>
          <a:prstGeom prst="roundRect">
            <a:avLst>
              <a:gd name="adj" fmla="val 4016"/>
            </a:avLst>
          </a:prstGeom>
          <a:solidFill>
            <a:schemeClr val="bg1">
              <a:lumMod val="95000"/>
            </a:schemeClr>
          </a:solidFill>
          <a:ln w="3175">
            <a:solidFill>
              <a:schemeClr val="bg1">
                <a:lumMod val="8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2D9EECF0-41FB-448C-A8D7-463F37BE9748}"/>
              </a:ext>
            </a:extLst>
          </p:cNvPr>
          <p:cNvSpPr/>
          <p:nvPr/>
        </p:nvSpPr>
        <p:spPr>
          <a:xfrm>
            <a:off x="9327394" y="1223929"/>
            <a:ext cx="2457342" cy="651828"/>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TextBox 22">
            <a:extLst>
              <a:ext uri="{FF2B5EF4-FFF2-40B4-BE49-F238E27FC236}">
                <a16:creationId xmlns:a16="http://schemas.microsoft.com/office/drawing/2014/main" id="{293C6E8B-5CBA-4AD5-A617-00566635C2C6}"/>
              </a:ext>
            </a:extLst>
          </p:cNvPr>
          <p:cNvSpPr txBox="1"/>
          <p:nvPr/>
        </p:nvSpPr>
        <p:spPr>
          <a:xfrm>
            <a:off x="9380740" y="1995479"/>
            <a:ext cx="2403996" cy="3292440"/>
          </a:xfrm>
          <a:prstGeom prst="rect">
            <a:avLst/>
          </a:prstGeom>
          <a:noFill/>
        </p:spPr>
        <p:txBody>
          <a:bodyPr wrap="square" rtlCol="0">
            <a:spAutoFit/>
          </a:bodyPr>
          <a:lstStyle/>
          <a:p>
            <a:pPr marL="209559" indent="-209559" defTabSz="1097411" hangingPunct="0">
              <a:lnSpc>
                <a:spcPct val="150000"/>
              </a:lnSpc>
              <a:spcAft>
                <a:spcPts val="600"/>
              </a:spcAft>
              <a:buFont typeface="Arial" panose="020B0604020202020204" pitchFamily="34" charset="0"/>
              <a:buChar char="•"/>
            </a:pPr>
            <a:r>
              <a:rPr lang="en-US" sz="1050" b="1" kern="0" dirty="0">
                <a:solidFill>
                  <a:srgbClr val="535353">
                    <a:lumMod val="75000"/>
                  </a:srgbClr>
                </a:solidFill>
                <a:latin typeface="Lato" charset="0"/>
                <a:ea typeface="Lato" charset="0"/>
                <a:cs typeface="Lato" charset="0"/>
                <a:sym typeface="Arial"/>
              </a:rPr>
              <a:t>Knowledge Transfer Summary</a:t>
            </a:r>
          </a:p>
          <a:p>
            <a:pPr marL="209559" indent="-209559" defTabSz="1097411" hangingPunct="0">
              <a:lnSpc>
                <a:spcPct val="150000"/>
              </a:lnSpc>
              <a:spcAft>
                <a:spcPts val="600"/>
              </a:spcAft>
              <a:buFont typeface="Arial" panose="020B0604020202020204" pitchFamily="34" charset="0"/>
              <a:buChar char="•"/>
            </a:pPr>
            <a:r>
              <a:rPr lang="en-US" sz="1050" b="1" kern="0" dirty="0">
                <a:solidFill>
                  <a:srgbClr val="535353">
                    <a:lumMod val="75000"/>
                  </a:srgbClr>
                </a:solidFill>
                <a:latin typeface="Lato" charset="0"/>
                <a:ea typeface="Lato" charset="0"/>
                <a:cs typeface="Lato" charset="0"/>
                <a:sym typeface="Arial"/>
              </a:rPr>
              <a:t>Communication Model</a:t>
            </a:r>
          </a:p>
          <a:p>
            <a:pPr marL="209559" indent="-209559" defTabSz="1097411" hangingPunct="0">
              <a:lnSpc>
                <a:spcPct val="150000"/>
              </a:lnSpc>
              <a:spcAft>
                <a:spcPts val="600"/>
              </a:spcAft>
              <a:buFont typeface="Arial" panose="020B0604020202020204" pitchFamily="34" charset="0"/>
              <a:buChar char="•"/>
            </a:pPr>
            <a:r>
              <a:rPr lang="en-US" sz="1050" b="1" kern="0" dirty="0">
                <a:solidFill>
                  <a:srgbClr val="535353">
                    <a:lumMod val="75000"/>
                  </a:srgbClr>
                </a:solidFill>
                <a:latin typeface="Lato" charset="0"/>
                <a:ea typeface="Lato" charset="0"/>
                <a:cs typeface="Lato" charset="0"/>
                <a:sym typeface="Arial"/>
              </a:rPr>
              <a:t>Unit Test Strategy and Plan</a:t>
            </a:r>
          </a:p>
          <a:p>
            <a:pPr marL="209559" indent="-209559" defTabSz="1097411" hangingPunct="0">
              <a:lnSpc>
                <a:spcPct val="150000"/>
              </a:lnSpc>
              <a:spcAft>
                <a:spcPts val="600"/>
              </a:spcAft>
              <a:buFont typeface="Arial" panose="020B0604020202020204" pitchFamily="34" charset="0"/>
              <a:buChar char="•"/>
            </a:pPr>
            <a:r>
              <a:rPr lang="en-US" sz="1050" b="1" kern="0" dirty="0">
                <a:solidFill>
                  <a:srgbClr val="535353">
                    <a:lumMod val="75000"/>
                  </a:srgbClr>
                </a:solidFill>
                <a:latin typeface="Lato" charset="0"/>
                <a:ea typeface="Lato" charset="0"/>
                <a:cs typeface="Lato" charset="0"/>
                <a:sym typeface="Arial"/>
              </a:rPr>
              <a:t>Unit Test Suite</a:t>
            </a:r>
          </a:p>
          <a:p>
            <a:pPr marL="209559" indent="-209559" defTabSz="1097411" hangingPunct="0">
              <a:lnSpc>
                <a:spcPct val="150000"/>
              </a:lnSpc>
              <a:spcAft>
                <a:spcPts val="600"/>
              </a:spcAft>
              <a:buFont typeface="Arial" panose="020B0604020202020204" pitchFamily="34" charset="0"/>
              <a:buChar char="•"/>
            </a:pPr>
            <a:r>
              <a:rPr lang="en-US" sz="1050" b="1" kern="0" dirty="0">
                <a:solidFill>
                  <a:srgbClr val="535353">
                    <a:lumMod val="75000"/>
                  </a:srgbClr>
                </a:solidFill>
                <a:latin typeface="Lato" charset="0"/>
                <a:ea typeface="Lato" charset="0"/>
                <a:cs typeface="Lato" charset="0"/>
                <a:sym typeface="Arial"/>
              </a:rPr>
              <a:t>Daily Status Reports</a:t>
            </a:r>
          </a:p>
          <a:p>
            <a:pPr marL="209559" indent="-209559" defTabSz="1097411" hangingPunct="0">
              <a:lnSpc>
                <a:spcPct val="150000"/>
              </a:lnSpc>
              <a:spcAft>
                <a:spcPts val="600"/>
              </a:spcAft>
              <a:buFont typeface="Arial" panose="020B0604020202020204" pitchFamily="34" charset="0"/>
              <a:buChar char="•"/>
            </a:pPr>
            <a:r>
              <a:rPr lang="en-US" sz="1050" b="1" kern="0" dirty="0">
                <a:solidFill>
                  <a:srgbClr val="535353">
                    <a:lumMod val="75000"/>
                  </a:srgbClr>
                </a:solidFill>
                <a:latin typeface="Lato" charset="0"/>
                <a:ea typeface="Lato" charset="0"/>
                <a:cs typeface="Lato" charset="0"/>
                <a:sym typeface="Arial"/>
              </a:rPr>
              <a:t>Weekly Status Reports</a:t>
            </a:r>
          </a:p>
          <a:p>
            <a:pPr marL="209559" indent="-209559" defTabSz="1097411" hangingPunct="0">
              <a:lnSpc>
                <a:spcPct val="150000"/>
              </a:lnSpc>
              <a:spcAft>
                <a:spcPts val="600"/>
              </a:spcAft>
              <a:buFont typeface="Arial" panose="020B0604020202020204" pitchFamily="34" charset="0"/>
              <a:buChar char="•"/>
            </a:pPr>
            <a:r>
              <a:rPr lang="en-US" sz="1050" b="1" kern="0" dirty="0">
                <a:solidFill>
                  <a:srgbClr val="535353">
                    <a:lumMod val="75000"/>
                  </a:srgbClr>
                </a:solidFill>
                <a:latin typeface="Lato" charset="0"/>
                <a:ea typeface="Lato" charset="0"/>
                <a:cs typeface="Lato" charset="0"/>
                <a:sym typeface="Arial"/>
              </a:rPr>
              <a:t>Defect Summary Report</a:t>
            </a:r>
          </a:p>
          <a:p>
            <a:pPr marL="209559" indent="-209559" defTabSz="1097411" hangingPunct="0">
              <a:lnSpc>
                <a:spcPct val="150000"/>
              </a:lnSpc>
              <a:spcAft>
                <a:spcPts val="600"/>
              </a:spcAft>
              <a:buFont typeface="Arial" panose="020B0604020202020204" pitchFamily="34" charset="0"/>
              <a:buChar char="•"/>
            </a:pPr>
            <a:r>
              <a:rPr lang="en-US" sz="1050" b="1" kern="0" dirty="0">
                <a:solidFill>
                  <a:srgbClr val="535353">
                    <a:lumMod val="75000"/>
                  </a:srgbClr>
                </a:solidFill>
                <a:latin typeface="Lato" charset="0"/>
                <a:ea typeface="Lato" charset="0"/>
                <a:cs typeface="Lato" charset="0"/>
                <a:sym typeface="Arial"/>
              </a:rPr>
              <a:t>Defect Trend Analysis</a:t>
            </a:r>
          </a:p>
          <a:p>
            <a:pPr marL="209559" indent="-209559" defTabSz="1097411" hangingPunct="0">
              <a:lnSpc>
                <a:spcPct val="150000"/>
              </a:lnSpc>
              <a:spcAft>
                <a:spcPts val="600"/>
              </a:spcAft>
              <a:buFont typeface="Arial" panose="020B0604020202020204" pitchFamily="34" charset="0"/>
              <a:buChar char="•"/>
            </a:pPr>
            <a:r>
              <a:rPr lang="en-US" sz="1050" b="1" kern="0" dirty="0">
                <a:solidFill>
                  <a:srgbClr val="535353">
                    <a:lumMod val="75000"/>
                  </a:srgbClr>
                </a:solidFill>
                <a:latin typeface="Lato" charset="0"/>
                <a:ea typeface="Lato" charset="0"/>
                <a:cs typeface="Lato" charset="0"/>
                <a:sym typeface="Arial"/>
              </a:rPr>
              <a:t>Test Summary Report</a:t>
            </a:r>
          </a:p>
          <a:p>
            <a:pPr marL="209559" indent="-209559" defTabSz="1097411" hangingPunct="0">
              <a:lnSpc>
                <a:spcPct val="150000"/>
              </a:lnSpc>
              <a:spcAft>
                <a:spcPts val="600"/>
              </a:spcAft>
              <a:buFont typeface="Arial" panose="020B0604020202020204" pitchFamily="34" charset="0"/>
              <a:buChar char="•"/>
            </a:pPr>
            <a:r>
              <a:rPr lang="en-US" sz="1050" b="1" kern="0" dirty="0">
                <a:solidFill>
                  <a:srgbClr val="535353">
                    <a:lumMod val="75000"/>
                  </a:srgbClr>
                </a:solidFill>
                <a:latin typeface="Lato" charset="0"/>
                <a:ea typeface="Lato" charset="0"/>
                <a:cs typeface="Lato" charset="0"/>
                <a:sym typeface="Arial"/>
              </a:rPr>
              <a:t>Best Practices Guide</a:t>
            </a:r>
          </a:p>
        </p:txBody>
      </p:sp>
      <p:sp>
        <p:nvSpPr>
          <p:cNvPr id="24" name="Oval 4">
            <a:extLst>
              <a:ext uri="{FF2B5EF4-FFF2-40B4-BE49-F238E27FC236}">
                <a16:creationId xmlns:a16="http://schemas.microsoft.com/office/drawing/2014/main" id="{685FA660-11E4-4763-AE6F-463BAA307C77}"/>
              </a:ext>
            </a:extLst>
          </p:cNvPr>
          <p:cNvSpPr/>
          <p:nvPr/>
        </p:nvSpPr>
        <p:spPr>
          <a:xfrm>
            <a:off x="9628180" y="1261440"/>
            <a:ext cx="1881899" cy="57680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533400">
              <a:lnSpc>
                <a:spcPct val="90000"/>
              </a:lnSpc>
              <a:spcBef>
                <a:spcPct val="0"/>
              </a:spcBef>
              <a:spcAft>
                <a:spcPct val="35000"/>
              </a:spcAft>
            </a:pPr>
            <a:r>
              <a:rPr lang="en-US" sz="1400" dirty="0">
                <a:solidFill>
                  <a:schemeClr val="bg1"/>
                </a:solidFill>
                <a:latin typeface="Lato" panose="020F0502020204030203"/>
              </a:rPr>
              <a:t>Key Deliverables</a:t>
            </a:r>
          </a:p>
        </p:txBody>
      </p:sp>
      <p:sp>
        <p:nvSpPr>
          <p:cNvPr id="25" name="Triangle 18">
            <a:extLst>
              <a:ext uri="{FF2B5EF4-FFF2-40B4-BE49-F238E27FC236}">
                <a16:creationId xmlns:a16="http://schemas.microsoft.com/office/drawing/2014/main" id="{CDE9C98A-012F-43FC-B42F-317432009971}"/>
              </a:ext>
            </a:extLst>
          </p:cNvPr>
          <p:cNvSpPr/>
          <p:nvPr/>
        </p:nvSpPr>
        <p:spPr>
          <a:xfrm rot="5400000">
            <a:off x="2324437" y="3351200"/>
            <a:ext cx="1696509" cy="224589"/>
          </a:xfrm>
          <a:prstGeom prst="triangle">
            <a:avLst/>
          </a:prstGeom>
          <a:solidFill>
            <a:srgbClr val="FFC000"/>
          </a:solidFill>
          <a:ln w="25400" cap="flat">
            <a:noFill/>
            <a:prstDash val="solid"/>
            <a:round/>
          </a:ln>
          <a:effectLst>
            <a:outerShdw blurRad="50800" dist="38100" dir="8100000" algn="tr"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400" b="0" i="0" u="none" strike="noStrike" cap="none" spc="0" normalizeH="0" baseline="0" dirty="0">
              <a:ln>
                <a:noFill/>
              </a:ln>
              <a:solidFill>
                <a:srgbClr val="000000"/>
              </a:solidFill>
              <a:effectLst/>
              <a:uFillTx/>
              <a:latin typeface="+mn-lt"/>
              <a:ea typeface="+mn-ea"/>
              <a:cs typeface="+mn-cs"/>
              <a:sym typeface="Arial"/>
            </a:endParaRPr>
          </a:p>
        </p:txBody>
      </p:sp>
      <p:sp>
        <p:nvSpPr>
          <p:cNvPr id="26" name="Triangle 19">
            <a:extLst>
              <a:ext uri="{FF2B5EF4-FFF2-40B4-BE49-F238E27FC236}">
                <a16:creationId xmlns:a16="http://schemas.microsoft.com/office/drawing/2014/main" id="{D8A246C9-F49C-4CDF-A324-5A7942DAFCD9}"/>
              </a:ext>
            </a:extLst>
          </p:cNvPr>
          <p:cNvSpPr/>
          <p:nvPr/>
        </p:nvSpPr>
        <p:spPr>
          <a:xfrm rot="5400000">
            <a:off x="5338674" y="3351200"/>
            <a:ext cx="1696509" cy="224589"/>
          </a:xfrm>
          <a:prstGeom prst="triangle">
            <a:avLst/>
          </a:prstGeom>
          <a:solidFill>
            <a:srgbClr val="FFC000"/>
          </a:solidFill>
          <a:ln w="25400" cap="flat">
            <a:noFill/>
            <a:prstDash val="solid"/>
            <a:round/>
          </a:ln>
          <a:effectLst>
            <a:outerShdw blurRad="50800" dist="38100" dir="8100000" algn="tr"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400" b="0" i="0" u="none" strike="noStrike" cap="none" spc="0" normalizeH="0" baseline="0" dirty="0">
              <a:ln>
                <a:noFill/>
              </a:ln>
              <a:solidFill>
                <a:srgbClr val="000000"/>
              </a:solidFill>
              <a:effectLst/>
              <a:uFillTx/>
              <a:latin typeface="+mn-lt"/>
              <a:ea typeface="+mn-ea"/>
              <a:cs typeface="+mn-cs"/>
              <a:sym typeface="Arial"/>
            </a:endParaRPr>
          </a:p>
        </p:txBody>
      </p:sp>
      <p:sp>
        <p:nvSpPr>
          <p:cNvPr id="27" name="Triangle 20">
            <a:extLst>
              <a:ext uri="{FF2B5EF4-FFF2-40B4-BE49-F238E27FC236}">
                <a16:creationId xmlns:a16="http://schemas.microsoft.com/office/drawing/2014/main" id="{0CCC8B92-1D32-4747-86CA-1F481301BA4B}"/>
              </a:ext>
            </a:extLst>
          </p:cNvPr>
          <p:cNvSpPr/>
          <p:nvPr/>
        </p:nvSpPr>
        <p:spPr>
          <a:xfrm rot="5400000">
            <a:off x="8250482" y="3340083"/>
            <a:ext cx="1696509" cy="224589"/>
          </a:xfrm>
          <a:prstGeom prst="triangle">
            <a:avLst/>
          </a:prstGeom>
          <a:solidFill>
            <a:srgbClr val="FFC000"/>
          </a:solidFill>
          <a:ln w="25400" cap="flat">
            <a:noFill/>
            <a:prstDash val="solid"/>
            <a:round/>
          </a:ln>
          <a:effectLst>
            <a:outerShdw blurRad="50800" dist="38100" dir="8100000" algn="tr"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400" b="0" i="0" u="none" strike="noStrike" cap="none" spc="0" normalizeH="0" baseline="0" dirty="0">
              <a:ln>
                <a:noFill/>
              </a:ln>
              <a:solidFill>
                <a:srgbClr val="000000"/>
              </a:solidFill>
              <a:effectLst/>
              <a:uFillTx/>
              <a:latin typeface="+mn-lt"/>
              <a:ea typeface="+mn-ea"/>
              <a:cs typeface="+mn-cs"/>
              <a:sym typeface="Arial"/>
            </a:endParaRPr>
          </a:p>
        </p:txBody>
      </p:sp>
      <p:sp>
        <p:nvSpPr>
          <p:cNvPr id="29" name="Oval 4">
            <a:extLst>
              <a:ext uri="{FF2B5EF4-FFF2-40B4-BE49-F238E27FC236}">
                <a16:creationId xmlns:a16="http://schemas.microsoft.com/office/drawing/2014/main" id="{E87E17F8-FC46-4DF1-80F1-FF3029ED069A}"/>
              </a:ext>
            </a:extLst>
          </p:cNvPr>
          <p:cNvSpPr/>
          <p:nvPr/>
        </p:nvSpPr>
        <p:spPr>
          <a:xfrm>
            <a:off x="6700218" y="1274503"/>
            <a:ext cx="1666752" cy="57680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533400">
              <a:lnSpc>
                <a:spcPct val="90000"/>
              </a:lnSpc>
              <a:spcBef>
                <a:spcPct val="0"/>
              </a:spcBef>
              <a:spcAft>
                <a:spcPct val="35000"/>
              </a:spcAft>
            </a:pPr>
            <a:r>
              <a:rPr lang="en-US" sz="1400" dirty="0">
                <a:solidFill>
                  <a:schemeClr val="bg1"/>
                </a:solidFill>
                <a:latin typeface="Lato" panose="020F0502020204030203"/>
              </a:rPr>
              <a:t>Develop</a:t>
            </a:r>
          </a:p>
        </p:txBody>
      </p:sp>
      <p:sp>
        <p:nvSpPr>
          <p:cNvPr id="30" name="Rounded Rectangle 23">
            <a:extLst>
              <a:ext uri="{FF2B5EF4-FFF2-40B4-BE49-F238E27FC236}">
                <a16:creationId xmlns:a16="http://schemas.microsoft.com/office/drawing/2014/main" id="{5694E35A-0710-475E-A5CC-BFE4E4B42809}"/>
              </a:ext>
            </a:extLst>
          </p:cNvPr>
          <p:cNvSpPr/>
          <p:nvPr/>
        </p:nvSpPr>
        <p:spPr>
          <a:xfrm>
            <a:off x="6399431" y="985767"/>
            <a:ext cx="2457342" cy="4804979"/>
          </a:xfrm>
          <a:prstGeom prst="roundRect">
            <a:avLst>
              <a:gd name="adj" fmla="val 4016"/>
            </a:avLst>
          </a:prstGeom>
          <a:solidFill>
            <a:schemeClr val="bg1">
              <a:lumMod val="95000"/>
            </a:schemeClr>
          </a:solidFill>
          <a:ln w="3175">
            <a:solidFill>
              <a:schemeClr val="bg1">
                <a:lumMod val="8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a:extLst>
              <a:ext uri="{FF2B5EF4-FFF2-40B4-BE49-F238E27FC236}">
                <a16:creationId xmlns:a16="http://schemas.microsoft.com/office/drawing/2014/main" id="{42444DD7-C2DD-4D38-BC7E-9EAF6B6A5C3C}"/>
              </a:ext>
            </a:extLst>
          </p:cNvPr>
          <p:cNvSpPr/>
          <p:nvPr/>
        </p:nvSpPr>
        <p:spPr>
          <a:xfrm>
            <a:off x="6399431" y="1223929"/>
            <a:ext cx="2457342" cy="651828"/>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TextBox 31">
            <a:extLst>
              <a:ext uri="{FF2B5EF4-FFF2-40B4-BE49-F238E27FC236}">
                <a16:creationId xmlns:a16="http://schemas.microsoft.com/office/drawing/2014/main" id="{F21E55E3-80E6-4D25-8083-6C28205B201D}"/>
              </a:ext>
            </a:extLst>
          </p:cNvPr>
          <p:cNvSpPr txBox="1"/>
          <p:nvPr/>
        </p:nvSpPr>
        <p:spPr>
          <a:xfrm>
            <a:off x="6428892" y="1972856"/>
            <a:ext cx="2427881" cy="2066591"/>
          </a:xfrm>
          <a:prstGeom prst="rect">
            <a:avLst/>
          </a:prstGeom>
          <a:noFill/>
        </p:spPr>
        <p:txBody>
          <a:bodyPr wrap="square" rtlCol="0">
            <a:spAutoFit/>
          </a:bodyPr>
          <a:lstStyle/>
          <a:p>
            <a:pPr marL="209559" indent="-209559" defTabSz="1097411">
              <a:lnSpc>
                <a:spcPct val="150000"/>
              </a:lnSpc>
              <a:spcAft>
                <a:spcPts val="600"/>
              </a:spcAft>
              <a:buFont typeface="Arial" panose="020B0604020202020204" pitchFamily="34" charset="0"/>
              <a:buChar char="•"/>
            </a:pPr>
            <a:r>
              <a:rPr lang="en-US" sz="1050" b="1" kern="0" dirty="0">
                <a:solidFill>
                  <a:srgbClr val="535353">
                    <a:lumMod val="75000"/>
                  </a:srgbClr>
                </a:solidFill>
                <a:latin typeface="Lato" charset="0"/>
                <a:ea typeface="Lato" charset="0"/>
                <a:cs typeface="Lato" charset="0"/>
                <a:sym typeface="Arial"/>
              </a:rPr>
              <a:t>Execute the unit test cases </a:t>
            </a:r>
          </a:p>
          <a:p>
            <a:pPr marL="209559" indent="-209559" defTabSz="1097411">
              <a:lnSpc>
                <a:spcPct val="150000"/>
              </a:lnSpc>
              <a:spcAft>
                <a:spcPts val="600"/>
              </a:spcAft>
              <a:buFont typeface="Arial" panose="020B0604020202020204" pitchFamily="34" charset="0"/>
              <a:buChar char="•"/>
            </a:pPr>
            <a:r>
              <a:rPr lang="en-US" sz="1050" b="1" kern="0" dirty="0">
                <a:solidFill>
                  <a:srgbClr val="535353">
                    <a:lumMod val="75000"/>
                  </a:srgbClr>
                </a:solidFill>
                <a:latin typeface="Lato" charset="0"/>
                <a:ea typeface="Lato" charset="0"/>
                <a:cs typeface="Lato" charset="0"/>
                <a:sym typeface="Arial"/>
              </a:rPr>
              <a:t>Publish test summary reports / dashboards</a:t>
            </a:r>
          </a:p>
          <a:p>
            <a:pPr marL="209559" indent="-209559" defTabSz="1097411">
              <a:lnSpc>
                <a:spcPct val="150000"/>
              </a:lnSpc>
              <a:spcAft>
                <a:spcPts val="600"/>
              </a:spcAft>
              <a:buFont typeface="Arial" panose="020B0604020202020204" pitchFamily="34" charset="0"/>
              <a:buChar char="•"/>
            </a:pPr>
            <a:r>
              <a:rPr lang="en-US" sz="1050" b="1" kern="0" dirty="0">
                <a:solidFill>
                  <a:srgbClr val="535353">
                    <a:lumMod val="75000"/>
                  </a:srgbClr>
                </a:solidFill>
                <a:latin typeface="Lato" charset="0"/>
                <a:ea typeface="Lato" charset="0"/>
                <a:cs typeface="Lato" charset="0"/>
                <a:sym typeface="Arial"/>
              </a:rPr>
              <a:t>Publish defect summary report </a:t>
            </a:r>
          </a:p>
          <a:p>
            <a:pPr marL="209559" indent="-209559" defTabSz="1097411">
              <a:lnSpc>
                <a:spcPct val="150000"/>
              </a:lnSpc>
              <a:spcAft>
                <a:spcPts val="600"/>
              </a:spcAft>
              <a:buFont typeface="Arial" panose="020B0604020202020204" pitchFamily="34" charset="0"/>
              <a:buChar char="•"/>
            </a:pPr>
            <a:r>
              <a:rPr lang="en-US" sz="1050" b="1" kern="0" dirty="0">
                <a:solidFill>
                  <a:srgbClr val="535353">
                    <a:lumMod val="75000"/>
                  </a:srgbClr>
                </a:solidFill>
                <a:latin typeface="Lato" charset="0"/>
                <a:ea typeface="Lato" charset="0"/>
                <a:cs typeface="Lato" charset="0"/>
                <a:sym typeface="Arial"/>
              </a:rPr>
              <a:t>Perform defect trend analysis</a:t>
            </a:r>
          </a:p>
          <a:p>
            <a:pPr marL="209559" indent="-209559" defTabSz="1097411">
              <a:lnSpc>
                <a:spcPct val="150000"/>
              </a:lnSpc>
              <a:spcAft>
                <a:spcPts val="600"/>
              </a:spcAft>
              <a:buFont typeface="Arial" panose="020B0604020202020204" pitchFamily="34" charset="0"/>
              <a:buChar char="•"/>
            </a:pPr>
            <a:r>
              <a:rPr lang="en-US" sz="1050" b="1" kern="0" dirty="0">
                <a:solidFill>
                  <a:srgbClr val="535353">
                    <a:lumMod val="75000"/>
                  </a:srgbClr>
                </a:solidFill>
                <a:latin typeface="Lato" charset="0"/>
                <a:ea typeface="Lato" charset="0"/>
                <a:cs typeface="Lato" charset="0"/>
                <a:sym typeface="Arial"/>
              </a:rPr>
              <a:t>Submit deliverables to Nasdaq team and obtain sign-off</a:t>
            </a:r>
          </a:p>
        </p:txBody>
      </p:sp>
      <p:sp>
        <p:nvSpPr>
          <p:cNvPr id="33" name="Oval 4">
            <a:extLst>
              <a:ext uri="{FF2B5EF4-FFF2-40B4-BE49-F238E27FC236}">
                <a16:creationId xmlns:a16="http://schemas.microsoft.com/office/drawing/2014/main" id="{5DF8E6FA-8097-43B7-806A-3FFAFE6DDE6A}"/>
              </a:ext>
            </a:extLst>
          </p:cNvPr>
          <p:cNvSpPr/>
          <p:nvPr/>
        </p:nvSpPr>
        <p:spPr>
          <a:xfrm>
            <a:off x="6747688" y="1274503"/>
            <a:ext cx="1881899" cy="57680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533400">
              <a:lnSpc>
                <a:spcPct val="90000"/>
              </a:lnSpc>
              <a:spcBef>
                <a:spcPct val="0"/>
              </a:spcBef>
              <a:spcAft>
                <a:spcPct val="35000"/>
              </a:spcAft>
            </a:pPr>
            <a:r>
              <a:rPr lang="en-US" sz="1400" dirty="0">
                <a:solidFill>
                  <a:schemeClr val="bg1"/>
                </a:solidFill>
                <a:latin typeface="Lato" panose="020F0502020204030203"/>
              </a:rPr>
              <a:t>Execute and Report</a:t>
            </a:r>
          </a:p>
        </p:txBody>
      </p:sp>
      <p:sp>
        <p:nvSpPr>
          <p:cNvPr id="35" name="Rounded Rectangle 36">
            <a:extLst>
              <a:ext uri="{FF2B5EF4-FFF2-40B4-BE49-F238E27FC236}">
                <a16:creationId xmlns:a16="http://schemas.microsoft.com/office/drawing/2014/main" id="{5455B934-574F-458B-B28F-E0293BC3AFAF}"/>
              </a:ext>
            </a:extLst>
          </p:cNvPr>
          <p:cNvSpPr/>
          <p:nvPr/>
        </p:nvSpPr>
        <p:spPr>
          <a:xfrm>
            <a:off x="3411856" y="985767"/>
            <a:ext cx="2457342" cy="4804979"/>
          </a:xfrm>
          <a:prstGeom prst="roundRect">
            <a:avLst>
              <a:gd name="adj" fmla="val 4016"/>
            </a:avLst>
          </a:prstGeom>
          <a:solidFill>
            <a:schemeClr val="bg1">
              <a:lumMod val="95000"/>
            </a:schemeClr>
          </a:solidFill>
          <a:ln w="3175">
            <a:solidFill>
              <a:schemeClr val="bg1">
                <a:lumMod val="8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Rectangle 35">
            <a:extLst>
              <a:ext uri="{FF2B5EF4-FFF2-40B4-BE49-F238E27FC236}">
                <a16:creationId xmlns:a16="http://schemas.microsoft.com/office/drawing/2014/main" id="{1DA088EA-6DC6-4912-BFB4-A9BAD6A0CE56}"/>
              </a:ext>
            </a:extLst>
          </p:cNvPr>
          <p:cNvSpPr/>
          <p:nvPr/>
        </p:nvSpPr>
        <p:spPr>
          <a:xfrm>
            <a:off x="3411856" y="1193698"/>
            <a:ext cx="2457342" cy="65182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a:extLst>
              <a:ext uri="{FF2B5EF4-FFF2-40B4-BE49-F238E27FC236}">
                <a16:creationId xmlns:a16="http://schemas.microsoft.com/office/drawing/2014/main" id="{2747B64F-5A10-4DCB-A7EF-9F59B3DA82E3}"/>
              </a:ext>
            </a:extLst>
          </p:cNvPr>
          <p:cNvSpPr txBox="1"/>
          <p:nvPr/>
        </p:nvSpPr>
        <p:spPr>
          <a:xfrm>
            <a:off x="3418122" y="1947481"/>
            <a:ext cx="2457342" cy="3034292"/>
          </a:xfrm>
          <a:prstGeom prst="rect">
            <a:avLst/>
          </a:prstGeom>
          <a:noFill/>
        </p:spPr>
        <p:txBody>
          <a:bodyPr wrap="square" rtlCol="0">
            <a:spAutoFit/>
          </a:bodyPr>
          <a:lstStyle/>
          <a:p>
            <a:pPr marL="209559" indent="-209559" defTabSz="1097411" hangingPunct="0">
              <a:lnSpc>
                <a:spcPct val="150000"/>
              </a:lnSpc>
              <a:spcAft>
                <a:spcPts val="600"/>
              </a:spcAft>
              <a:buFont typeface="Arial" panose="020B0604020202020204" pitchFamily="34" charset="0"/>
              <a:buChar char="•"/>
            </a:pPr>
            <a:r>
              <a:rPr lang="en-US" sz="1050" b="1" kern="0" dirty="0">
                <a:solidFill>
                  <a:srgbClr val="535353">
                    <a:lumMod val="75000"/>
                  </a:srgbClr>
                </a:solidFill>
                <a:latin typeface="Lato" charset="0"/>
                <a:ea typeface="Lato" charset="0"/>
                <a:cs typeface="Lato" charset="0"/>
                <a:sym typeface="Arial"/>
              </a:rPr>
              <a:t>Perform tool feasibility analysis and provide tool recommendation if any tools other than JUnit can be beneficial for unit testing and test automation</a:t>
            </a:r>
          </a:p>
          <a:p>
            <a:pPr marL="209559" indent="-209559" defTabSz="1097411" hangingPunct="0">
              <a:lnSpc>
                <a:spcPct val="150000"/>
              </a:lnSpc>
              <a:spcAft>
                <a:spcPts val="600"/>
              </a:spcAft>
              <a:buFont typeface="Arial" panose="020B0604020202020204" pitchFamily="34" charset="0"/>
              <a:buChar char="•"/>
            </a:pPr>
            <a:r>
              <a:rPr lang="en-US" sz="1050" b="1" kern="0" dirty="0">
                <a:solidFill>
                  <a:srgbClr val="535353">
                    <a:lumMod val="75000"/>
                  </a:srgbClr>
                </a:solidFill>
                <a:latin typeface="Lato" charset="0"/>
                <a:ea typeface="Lato" charset="0"/>
                <a:cs typeface="Lato" charset="0"/>
                <a:sym typeface="Arial"/>
              </a:rPr>
              <a:t>Define a unit testing strategy/plan</a:t>
            </a:r>
          </a:p>
          <a:p>
            <a:pPr marL="209559" indent="-209559" defTabSz="1097411" hangingPunct="0">
              <a:lnSpc>
                <a:spcPct val="150000"/>
              </a:lnSpc>
              <a:spcAft>
                <a:spcPts val="600"/>
              </a:spcAft>
              <a:buFont typeface="Arial" panose="020B0604020202020204" pitchFamily="34" charset="0"/>
              <a:buChar char="•"/>
            </a:pPr>
            <a:r>
              <a:rPr lang="en-US" sz="1050" b="1" kern="0" dirty="0">
                <a:solidFill>
                  <a:srgbClr val="535353">
                    <a:lumMod val="75000"/>
                  </a:srgbClr>
                </a:solidFill>
                <a:latin typeface="Lato" charset="0"/>
                <a:ea typeface="Lato" charset="0"/>
                <a:cs typeface="Lato" charset="0"/>
                <a:sym typeface="Arial"/>
              </a:rPr>
              <a:t>Author unit test cases for the application modules under test</a:t>
            </a:r>
          </a:p>
          <a:p>
            <a:pPr marL="209559" indent="-209559" defTabSz="1097411" hangingPunct="0">
              <a:lnSpc>
                <a:spcPct val="150000"/>
              </a:lnSpc>
              <a:spcAft>
                <a:spcPts val="600"/>
              </a:spcAft>
              <a:buFont typeface="Arial" panose="020B0604020202020204" pitchFamily="34" charset="0"/>
              <a:buChar char="•"/>
            </a:pPr>
            <a:r>
              <a:rPr lang="en-US" sz="1050" b="1" kern="0" dirty="0">
                <a:solidFill>
                  <a:srgbClr val="535353">
                    <a:lumMod val="75000"/>
                  </a:srgbClr>
                </a:solidFill>
                <a:latin typeface="Lato" charset="0"/>
                <a:ea typeface="Lato" charset="0"/>
                <a:cs typeface="Lato" charset="0"/>
                <a:sym typeface="Arial"/>
              </a:rPr>
              <a:t>Review unit test cases with Nasdaq team and obtain sign-off</a:t>
            </a:r>
          </a:p>
          <a:p>
            <a:pPr marL="209559" indent="-209559" defTabSz="1097411" hangingPunct="0">
              <a:lnSpc>
                <a:spcPct val="150000"/>
              </a:lnSpc>
              <a:spcAft>
                <a:spcPts val="600"/>
              </a:spcAft>
              <a:buFont typeface="Arial" panose="020B0604020202020204" pitchFamily="34" charset="0"/>
              <a:buChar char="•"/>
            </a:pPr>
            <a:r>
              <a:rPr lang="en-US" sz="1050" b="1" kern="0" dirty="0">
                <a:solidFill>
                  <a:srgbClr val="535353">
                    <a:lumMod val="75000"/>
                  </a:srgbClr>
                </a:solidFill>
                <a:latin typeface="Lato" charset="0"/>
                <a:ea typeface="Lato" charset="0"/>
                <a:cs typeface="Lato" charset="0"/>
                <a:sym typeface="Arial"/>
              </a:rPr>
              <a:t>Obtain sign-off from Nasdaq</a:t>
            </a:r>
          </a:p>
        </p:txBody>
      </p:sp>
      <p:sp>
        <p:nvSpPr>
          <p:cNvPr id="38" name="Oval 4">
            <a:extLst>
              <a:ext uri="{FF2B5EF4-FFF2-40B4-BE49-F238E27FC236}">
                <a16:creationId xmlns:a16="http://schemas.microsoft.com/office/drawing/2014/main" id="{0ADA55A4-B72A-45AF-8BDC-0BE641B45990}"/>
              </a:ext>
            </a:extLst>
          </p:cNvPr>
          <p:cNvSpPr/>
          <p:nvPr/>
        </p:nvSpPr>
        <p:spPr>
          <a:xfrm>
            <a:off x="3793469" y="1248265"/>
            <a:ext cx="1666752" cy="57680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533400">
              <a:lnSpc>
                <a:spcPct val="90000"/>
              </a:lnSpc>
              <a:spcBef>
                <a:spcPct val="0"/>
              </a:spcBef>
              <a:spcAft>
                <a:spcPct val="35000"/>
              </a:spcAft>
            </a:pPr>
            <a:r>
              <a:rPr lang="en-US" sz="1400" dirty="0">
                <a:solidFill>
                  <a:schemeClr val="bg1"/>
                </a:solidFill>
                <a:latin typeface="Lato" panose="020F0502020204030203"/>
              </a:rPr>
              <a:t>Design and Develop</a:t>
            </a:r>
          </a:p>
        </p:txBody>
      </p:sp>
    </p:spTree>
    <p:extLst>
      <p:ext uri="{BB962C8B-B14F-4D97-AF65-F5344CB8AC3E}">
        <p14:creationId xmlns:p14="http://schemas.microsoft.com/office/powerpoint/2010/main" val="2910337006"/>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90F17A-2EF6-4BC1-81A2-5A59790732D8}"/>
              </a:ext>
            </a:extLst>
          </p:cNvPr>
          <p:cNvSpPr>
            <a:spLocks noGrp="1"/>
          </p:cNvSpPr>
          <p:nvPr>
            <p:ph type="title"/>
          </p:nvPr>
        </p:nvSpPr>
        <p:spPr/>
        <p:txBody>
          <a:bodyPr/>
          <a:lstStyle/>
          <a:p>
            <a:r>
              <a:rPr lang="en-US" dirty="0"/>
              <a:t>Unit Test Considerations</a:t>
            </a:r>
          </a:p>
        </p:txBody>
      </p:sp>
      <p:graphicFrame>
        <p:nvGraphicFramePr>
          <p:cNvPr id="28" name="Table 27">
            <a:extLst>
              <a:ext uri="{FF2B5EF4-FFF2-40B4-BE49-F238E27FC236}">
                <a16:creationId xmlns:a16="http://schemas.microsoft.com/office/drawing/2014/main" id="{956F9EEE-0227-2548-9448-8492806DF6CB}"/>
              </a:ext>
            </a:extLst>
          </p:cNvPr>
          <p:cNvGraphicFramePr>
            <a:graphicFrameLocks noGrp="1"/>
          </p:cNvGraphicFramePr>
          <p:nvPr>
            <p:extLst>
              <p:ext uri="{D42A27DB-BD31-4B8C-83A1-F6EECF244321}">
                <p14:modId xmlns:p14="http://schemas.microsoft.com/office/powerpoint/2010/main" val="462731159"/>
              </p:ext>
            </p:extLst>
          </p:nvPr>
        </p:nvGraphicFramePr>
        <p:xfrm>
          <a:off x="1077153" y="2161895"/>
          <a:ext cx="10037694" cy="1791006"/>
        </p:xfrm>
        <a:graphic>
          <a:graphicData uri="http://schemas.openxmlformats.org/drawingml/2006/table">
            <a:tbl>
              <a:tblPr>
                <a:tableStyleId>{5C22544A-7EE6-4342-B048-85BDC9FD1C3A}</a:tableStyleId>
              </a:tblPr>
              <a:tblGrid>
                <a:gridCol w="2207914">
                  <a:extLst>
                    <a:ext uri="{9D8B030D-6E8A-4147-A177-3AD203B41FA5}">
                      <a16:colId xmlns:a16="http://schemas.microsoft.com/office/drawing/2014/main" val="20000"/>
                    </a:ext>
                  </a:extLst>
                </a:gridCol>
                <a:gridCol w="7829780">
                  <a:extLst>
                    <a:ext uri="{9D8B030D-6E8A-4147-A177-3AD203B41FA5}">
                      <a16:colId xmlns:a16="http://schemas.microsoft.com/office/drawing/2014/main" val="20001"/>
                    </a:ext>
                  </a:extLst>
                </a:gridCol>
              </a:tblGrid>
              <a:tr h="437676">
                <a:tc>
                  <a:txBody>
                    <a:bodyPr/>
                    <a:lstStyle/>
                    <a:p>
                      <a:pPr marL="0" marR="0" lvl="1" indent="0" algn="r" defTabSz="914400" rtl="0" eaLnBrk="1" fontAlgn="auto" latinLnBrk="0" hangingPunct="0">
                        <a:lnSpc>
                          <a:spcPct val="110000"/>
                        </a:lnSpc>
                        <a:spcBef>
                          <a:spcPts val="600"/>
                        </a:spcBef>
                        <a:spcAft>
                          <a:spcPts val="0"/>
                        </a:spcAft>
                        <a:buClrTx/>
                        <a:buSzTx/>
                        <a:buFontTx/>
                        <a:buNone/>
                        <a:tabLst/>
                        <a:defRPr/>
                      </a:pPr>
                      <a:r>
                        <a:rPr kumimoji="0" lang="en-US" sz="1400" b="1" i="0" u="none" strike="noStrike" cap="none" spc="0" normalizeH="0" baseline="0" dirty="0">
                          <a:ln>
                            <a:noFill/>
                          </a:ln>
                          <a:solidFill>
                            <a:schemeClr val="bg2"/>
                          </a:solidFill>
                          <a:effectLst/>
                          <a:uFillTx/>
                          <a:latin typeface="Lato Heavy" charset="0"/>
                          <a:ea typeface="Lato Heavy" charset="0"/>
                          <a:cs typeface="Lato Heavy" charset="0"/>
                          <a:sym typeface="Arial"/>
                        </a:rPr>
                        <a:t>Get / Set Methods</a:t>
                      </a:r>
                    </a:p>
                  </a:txBody>
                  <a:tcPr marL="110300" marR="325688" marT="55150" marB="55150">
                    <a:lnL w="12700" cmpd="sng">
                      <a:noFill/>
                    </a:lnL>
                    <a:lnR w="57150" cap="flat" cmpd="sng" algn="ctr">
                      <a:solidFill>
                        <a:srgbClr val="E94924"/>
                      </a:solid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indent="-285750" algn="just" defTabSz="914400" rtl="0" eaLnBrk="1" fontAlgn="auto" latinLnBrk="0" hangingPunct="1">
                        <a:lnSpc>
                          <a:spcPct val="100000"/>
                        </a:lnSpc>
                        <a:spcBef>
                          <a:spcPts val="0"/>
                        </a:spcBef>
                        <a:spcAft>
                          <a:spcPts val="600"/>
                        </a:spcAft>
                        <a:buClrTx/>
                        <a:buSzTx/>
                        <a:buFont typeface="LucidaGrande" charset="0"/>
                        <a:buChar char="⇢"/>
                        <a:tabLst/>
                        <a:defRPr/>
                      </a:pPr>
                      <a:r>
                        <a:rPr lang="en-US" sz="1400" b="0" i="0" kern="1200" baseline="0" dirty="0">
                          <a:solidFill>
                            <a:srgbClr val="4D4D4D"/>
                          </a:solidFill>
                          <a:latin typeface="Lato" charset="0"/>
                          <a:ea typeface="Lato" charset="0"/>
                          <a:cs typeface="Lato" charset="0"/>
                        </a:rPr>
                        <a:t>Getter and Setter methods on the POJOs (entities, DTOs, Value Objects, etc.)</a:t>
                      </a:r>
                    </a:p>
                  </a:txBody>
                  <a:tcPr marL="325688" marR="542815" marT="109728" marB="131674">
                    <a:lnL w="57150" cap="flat" cmpd="sng" algn="ctr">
                      <a:solidFill>
                        <a:srgbClr val="E94924"/>
                      </a:solid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665627">
                <a:tc>
                  <a:txBody>
                    <a:bodyPr/>
                    <a:lstStyle/>
                    <a:p>
                      <a:pPr marL="0" marR="0" indent="0" algn="r" defTabSz="914400" rtl="0" eaLnBrk="1" fontAlgn="auto" latinLnBrk="0" hangingPunct="0">
                        <a:lnSpc>
                          <a:spcPct val="110000"/>
                        </a:lnSpc>
                        <a:spcBef>
                          <a:spcPts val="600"/>
                        </a:spcBef>
                        <a:spcAft>
                          <a:spcPts val="0"/>
                        </a:spcAft>
                        <a:buClrTx/>
                        <a:buSzTx/>
                        <a:buFontTx/>
                        <a:buNone/>
                        <a:tabLst/>
                        <a:defRPr/>
                      </a:pPr>
                      <a:r>
                        <a:rPr kumimoji="0" lang="en-US" sz="1400" b="1" i="0" u="none" strike="noStrike" cap="none" spc="0" normalizeH="0" baseline="0" dirty="0">
                          <a:ln>
                            <a:noFill/>
                          </a:ln>
                          <a:solidFill>
                            <a:schemeClr val="bg2"/>
                          </a:solidFill>
                          <a:effectLst/>
                          <a:uFillTx/>
                          <a:latin typeface="Lato Heavy" charset="0"/>
                          <a:ea typeface="Lato Heavy" charset="0"/>
                          <a:cs typeface="Lato Heavy" charset="0"/>
                          <a:sym typeface="Arial"/>
                        </a:rPr>
                        <a:t>Private Methods</a:t>
                      </a:r>
                    </a:p>
                    <a:p>
                      <a:pPr marL="0" marR="0" indent="0" algn="r" defTabSz="914400" rtl="0" eaLnBrk="1" fontAlgn="auto" latinLnBrk="0" hangingPunct="0">
                        <a:lnSpc>
                          <a:spcPct val="110000"/>
                        </a:lnSpc>
                        <a:spcBef>
                          <a:spcPts val="600"/>
                        </a:spcBef>
                        <a:spcAft>
                          <a:spcPts val="0"/>
                        </a:spcAft>
                        <a:buClrTx/>
                        <a:buSzTx/>
                        <a:buFontTx/>
                        <a:buNone/>
                        <a:tabLst/>
                        <a:defRPr/>
                      </a:pPr>
                      <a:endParaRPr kumimoji="0" lang="en-US" sz="1400" b="1" i="0" u="none" strike="noStrike" cap="none" spc="0" normalizeH="0" baseline="0" dirty="0">
                        <a:ln>
                          <a:noFill/>
                        </a:ln>
                        <a:solidFill>
                          <a:schemeClr val="bg2"/>
                        </a:solidFill>
                        <a:effectLst/>
                        <a:uFillTx/>
                        <a:latin typeface="Lato Heavy" charset="0"/>
                        <a:ea typeface="Lato Heavy" charset="0"/>
                        <a:cs typeface="Lato Heavy" charset="0"/>
                        <a:sym typeface="Arial"/>
                      </a:endParaRPr>
                    </a:p>
                  </a:txBody>
                  <a:tcPr marL="110300" marR="325688" marT="55150" marB="55150">
                    <a:lnL w="12700" cmpd="sng">
                      <a:noFill/>
                    </a:lnL>
                    <a:lnR w="57150" cap="flat" cmpd="sng" algn="ctr">
                      <a:solidFill>
                        <a:srgbClr val="E94924"/>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just" defTabSz="914400" rtl="0" eaLnBrk="1" fontAlgn="auto" latinLnBrk="0" hangingPunct="1">
                        <a:lnSpc>
                          <a:spcPct val="100000"/>
                        </a:lnSpc>
                        <a:spcBef>
                          <a:spcPts val="0"/>
                        </a:spcBef>
                        <a:spcAft>
                          <a:spcPts val="600"/>
                        </a:spcAft>
                        <a:buClrTx/>
                        <a:buSzTx/>
                        <a:buFont typeface="LucidaGrande" charset="0"/>
                        <a:buChar char="⇢"/>
                        <a:tabLst/>
                        <a:defRPr/>
                      </a:pPr>
                      <a:r>
                        <a:rPr kumimoji="0" lang="en-US" sz="1400" b="0" i="0" u="none" strike="noStrike" kern="1200" cap="none" spc="0" normalizeH="0" baseline="0" noProof="0" dirty="0">
                          <a:ln>
                            <a:noFill/>
                          </a:ln>
                          <a:solidFill>
                            <a:srgbClr val="4D4D4D"/>
                          </a:solidFill>
                          <a:effectLst/>
                          <a:uLnTx/>
                          <a:uFillTx/>
                          <a:latin typeface="Lato" charset="0"/>
                          <a:ea typeface="Lato" charset="0"/>
                          <a:cs typeface="Lato" charset="0"/>
                          <a:sym typeface="Arial"/>
                        </a:rPr>
                        <a:t>Private methods across the application (as they would essentially be tested via their usages in other public methods)</a:t>
                      </a:r>
                    </a:p>
                  </a:txBody>
                  <a:tcPr marL="325688" marR="542815" marT="109728" marB="131674">
                    <a:lnL w="57150" cap="flat" cmpd="sng" algn="ctr">
                      <a:solidFill>
                        <a:srgbClr val="E94924"/>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665627">
                <a:tc>
                  <a:txBody>
                    <a:bodyPr/>
                    <a:lstStyle/>
                    <a:p>
                      <a:pPr marL="0" marR="0" indent="0" algn="r" defTabSz="914400" rtl="0" eaLnBrk="1" fontAlgn="auto" latinLnBrk="0" hangingPunct="0">
                        <a:lnSpc>
                          <a:spcPct val="110000"/>
                        </a:lnSpc>
                        <a:spcBef>
                          <a:spcPts val="600"/>
                        </a:spcBef>
                        <a:spcAft>
                          <a:spcPts val="0"/>
                        </a:spcAft>
                        <a:buClrTx/>
                        <a:buSzTx/>
                        <a:buFontTx/>
                        <a:buNone/>
                        <a:tabLst/>
                        <a:defRPr/>
                      </a:pPr>
                      <a:r>
                        <a:rPr kumimoji="0" lang="en-US" sz="1400" b="1" i="0" u="none" strike="noStrike" cap="none" spc="0" normalizeH="0" baseline="0" dirty="0">
                          <a:ln>
                            <a:noFill/>
                          </a:ln>
                          <a:solidFill>
                            <a:schemeClr val="bg2"/>
                          </a:solidFill>
                          <a:effectLst/>
                          <a:uFillTx/>
                          <a:latin typeface="Lato Heavy" charset="0"/>
                          <a:ea typeface="Lato Heavy" charset="0"/>
                          <a:cs typeface="Lato Heavy" charset="0"/>
                          <a:sym typeface="Arial"/>
                        </a:rPr>
                        <a:t>Data Access Methods</a:t>
                      </a:r>
                    </a:p>
                  </a:txBody>
                  <a:tcPr marL="110300" marR="325688" marT="55150" marB="55150">
                    <a:lnL w="12700" cmpd="sng">
                      <a:noFill/>
                    </a:lnL>
                    <a:lnR w="57150" cap="flat" cmpd="sng" algn="ctr">
                      <a:solidFill>
                        <a:srgbClr val="E94924"/>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just" defTabSz="914400" rtl="0" eaLnBrk="1" fontAlgn="auto" latinLnBrk="0" hangingPunct="1">
                        <a:lnSpc>
                          <a:spcPct val="100000"/>
                        </a:lnSpc>
                        <a:spcBef>
                          <a:spcPts val="0"/>
                        </a:spcBef>
                        <a:spcAft>
                          <a:spcPts val="600"/>
                        </a:spcAft>
                        <a:buClrTx/>
                        <a:buSzTx/>
                        <a:buFont typeface="LucidaGrande" charset="0"/>
                        <a:buChar char="⇢"/>
                        <a:tabLst/>
                        <a:defRPr/>
                      </a:pPr>
                      <a:r>
                        <a:rPr kumimoji="0" lang="en-US" sz="1400" b="0" i="0" u="none" strike="noStrike" kern="1200" cap="none" spc="0" normalizeH="0" baseline="0" noProof="0" dirty="0">
                          <a:ln>
                            <a:noFill/>
                          </a:ln>
                          <a:solidFill>
                            <a:srgbClr val="4D4D4D"/>
                          </a:solidFill>
                          <a:effectLst/>
                          <a:uLnTx/>
                          <a:uFillTx/>
                          <a:latin typeface="Lato" charset="0"/>
                          <a:ea typeface="Lato" charset="0"/>
                          <a:cs typeface="Lato" charset="0"/>
                          <a:sym typeface="Arial"/>
                        </a:rPr>
                        <a:t>Data Access Layer (DAL / DAO / Repository) as the methods exposed here are consumed by the services.</a:t>
                      </a:r>
                    </a:p>
                  </a:txBody>
                  <a:tcPr marL="325688" marR="542815" marT="109728" marB="131674">
                    <a:lnL w="57150" cap="flat" cmpd="sng" algn="ctr">
                      <a:solidFill>
                        <a:srgbClr val="E94924"/>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14988502"/>
                  </a:ext>
                </a:extLst>
              </a:tr>
            </a:tbl>
          </a:graphicData>
        </a:graphic>
      </p:graphicFrame>
      <p:sp>
        <p:nvSpPr>
          <p:cNvPr id="5" name="Rectangle 4">
            <a:extLst>
              <a:ext uri="{FF2B5EF4-FFF2-40B4-BE49-F238E27FC236}">
                <a16:creationId xmlns:a16="http://schemas.microsoft.com/office/drawing/2014/main" id="{AE92B88E-9CE7-9B48-BE90-D790C5405629}"/>
              </a:ext>
            </a:extLst>
          </p:cNvPr>
          <p:cNvSpPr/>
          <p:nvPr/>
        </p:nvSpPr>
        <p:spPr>
          <a:xfrm>
            <a:off x="1077153" y="1182208"/>
            <a:ext cx="9500536" cy="646331"/>
          </a:xfrm>
          <a:prstGeom prst="rect">
            <a:avLst/>
          </a:prstGeom>
        </p:spPr>
        <p:txBody>
          <a:bodyPr wrap="square">
            <a:spAutoFit/>
          </a:bodyPr>
          <a:lstStyle/>
          <a:p>
            <a:r>
              <a:rPr lang="en-US" dirty="0">
                <a:latin typeface="Lato" panose="020F0502020204030203" pitchFamily="34" charset="0"/>
                <a:ea typeface="Lato" panose="020F0502020204030203" pitchFamily="34" charset="0"/>
                <a:cs typeface="Lato" panose="020F0502020204030203" pitchFamily="34" charset="0"/>
              </a:rPr>
              <a:t>As per the standard practice, writing unit tests for Service layer (which essentially exposes the business functionality) shall inherently test the methods exposed in the below areas</a:t>
            </a:r>
          </a:p>
        </p:txBody>
      </p:sp>
      <p:sp>
        <p:nvSpPr>
          <p:cNvPr id="7" name="Rectangle 6">
            <a:extLst>
              <a:ext uri="{FF2B5EF4-FFF2-40B4-BE49-F238E27FC236}">
                <a16:creationId xmlns:a16="http://schemas.microsoft.com/office/drawing/2014/main" id="{9AFF9A18-B3FD-CB47-A50A-23ACD5011914}"/>
              </a:ext>
            </a:extLst>
          </p:cNvPr>
          <p:cNvSpPr/>
          <p:nvPr/>
        </p:nvSpPr>
        <p:spPr>
          <a:xfrm>
            <a:off x="964264" y="4286257"/>
            <a:ext cx="10707583" cy="1477328"/>
          </a:xfrm>
          <a:prstGeom prst="rect">
            <a:avLst/>
          </a:prstGeom>
        </p:spPr>
        <p:txBody>
          <a:bodyPr wrap="square">
            <a:spAutoFit/>
          </a:bodyPr>
          <a:lstStyle/>
          <a:p>
            <a:pPr marL="285750" indent="-285750">
              <a:spcBef>
                <a:spcPts val="600"/>
              </a:spcBef>
              <a:spcAft>
                <a:spcPts val="600"/>
              </a:spcAft>
              <a:buFont typeface="Arial" panose="020B0604020202020204" pitchFamily="34" charset="0"/>
              <a:buChar char="•"/>
            </a:pPr>
            <a:r>
              <a:rPr lang="en-US" sz="1400" dirty="0">
                <a:latin typeface="Lato" panose="020F0502020204030203" pitchFamily="34" charset="0"/>
                <a:ea typeface="Lato" panose="020F0502020204030203" pitchFamily="34" charset="0"/>
                <a:cs typeface="Lato" panose="020F0502020204030203" pitchFamily="34" charset="0"/>
              </a:rPr>
              <a:t>Considering the above points and based on the metrics (KLOC, # Methods) provided, it is assumed that the number of methods for which the unit tests have to be written will be less compared to total number of methods</a:t>
            </a:r>
          </a:p>
          <a:p>
            <a:pPr marL="285750" indent="-285750">
              <a:spcBef>
                <a:spcPts val="600"/>
              </a:spcBef>
              <a:spcAft>
                <a:spcPts val="600"/>
              </a:spcAft>
              <a:buFont typeface="Arial" panose="020B0604020202020204" pitchFamily="34" charset="0"/>
              <a:buChar char="•"/>
            </a:pPr>
            <a:r>
              <a:rPr lang="en-US" sz="1400" dirty="0">
                <a:latin typeface="Lato" panose="020F0502020204030203"/>
              </a:rPr>
              <a:t>We plan to use JaCoCo for determining code coverage to meet your expected code coverage level</a:t>
            </a:r>
          </a:p>
          <a:p>
            <a:pPr marL="285750" indent="-285750">
              <a:spcBef>
                <a:spcPts val="600"/>
              </a:spcBef>
              <a:spcAft>
                <a:spcPts val="600"/>
              </a:spcAft>
              <a:buFont typeface="Arial" panose="020B0604020202020204" pitchFamily="34" charset="0"/>
              <a:buChar char="•"/>
            </a:pPr>
            <a:r>
              <a:rPr lang="en-US" sz="1400" dirty="0">
                <a:latin typeface="Lato" panose="020F0502020204030203" pitchFamily="34" charset="0"/>
                <a:ea typeface="Lato" panose="020F0502020204030203" pitchFamily="34" charset="0"/>
                <a:cs typeface="Lato" panose="020F0502020204030203" pitchFamily="34" charset="0"/>
                <a:sym typeface="Arial"/>
              </a:rPr>
              <a:t> In Parallel to Unit Test Development and execution our approach will be to develop accelerators (Code skeleton / Boiler plates for methods) which enable us to achieve efficiencies for delivering the remaining methods.</a:t>
            </a:r>
          </a:p>
        </p:txBody>
      </p:sp>
    </p:spTree>
    <p:extLst>
      <p:ext uri="{BB962C8B-B14F-4D97-AF65-F5344CB8AC3E}">
        <p14:creationId xmlns:p14="http://schemas.microsoft.com/office/powerpoint/2010/main" val="855592863"/>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D7309C-3DAA-C44E-8C3D-5E89DDAB63E6}"/>
              </a:ext>
            </a:extLst>
          </p:cNvPr>
          <p:cNvSpPr>
            <a:spLocks noGrp="1"/>
          </p:cNvSpPr>
          <p:nvPr>
            <p:ph type="title"/>
          </p:nvPr>
        </p:nvSpPr>
        <p:spPr/>
        <p:txBody>
          <a:bodyPr/>
          <a:lstStyle/>
          <a:p>
            <a:r>
              <a:rPr lang="en-US" dirty="0"/>
              <a:t>Commercials and Assumptions</a:t>
            </a:r>
          </a:p>
        </p:txBody>
      </p:sp>
    </p:spTree>
    <p:extLst>
      <p:ext uri="{BB962C8B-B14F-4D97-AF65-F5344CB8AC3E}">
        <p14:creationId xmlns:p14="http://schemas.microsoft.com/office/powerpoint/2010/main" val="573153505"/>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318AC4D-7241-4A28-9F94-0FE216B9504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t="11284" b="4752"/>
          <a:stretch/>
        </p:blipFill>
        <p:spPr>
          <a:xfrm>
            <a:off x="-2" y="784874"/>
            <a:ext cx="12195177" cy="5741936"/>
          </a:xfrm>
          <a:prstGeom prst="rect">
            <a:avLst/>
          </a:prstGeom>
        </p:spPr>
      </p:pic>
      <p:sp>
        <p:nvSpPr>
          <p:cNvPr id="2" name="Title 1">
            <a:extLst>
              <a:ext uri="{FF2B5EF4-FFF2-40B4-BE49-F238E27FC236}">
                <a16:creationId xmlns:a16="http://schemas.microsoft.com/office/drawing/2014/main" id="{1A159384-650A-44AC-84C2-4EC31C942BDF}"/>
              </a:ext>
            </a:extLst>
          </p:cNvPr>
          <p:cNvSpPr>
            <a:spLocks noGrp="1"/>
          </p:cNvSpPr>
          <p:nvPr>
            <p:ph type="title"/>
          </p:nvPr>
        </p:nvSpPr>
        <p:spPr/>
        <p:txBody>
          <a:bodyPr>
            <a:normAutofit/>
          </a:bodyPr>
          <a:lstStyle/>
          <a:p>
            <a:r>
              <a:rPr lang="en-US" sz="2800" dirty="0">
                <a:latin typeface="Lato" panose="020F0502020204030203"/>
              </a:rPr>
              <a:t>Schedule</a:t>
            </a:r>
          </a:p>
        </p:txBody>
      </p:sp>
      <p:graphicFrame>
        <p:nvGraphicFramePr>
          <p:cNvPr id="8" name="Table 7">
            <a:extLst>
              <a:ext uri="{FF2B5EF4-FFF2-40B4-BE49-F238E27FC236}">
                <a16:creationId xmlns:a16="http://schemas.microsoft.com/office/drawing/2014/main" id="{BB2A04E8-4381-3C45-83A1-D6EC6AB7A2B2}"/>
              </a:ext>
            </a:extLst>
          </p:cNvPr>
          <p:cNvGraphicFramePr>
            <a:graphicFrameLocks noGrp="1"/>
          </p:cNvGraphicFramePr>
          <p:nvPr>
            <p:extLst>
              <p:ext uri="{D42A27DB-BD31-4B8C-83A1-F6EECF244321}">
                <p14:modId xmlns:p14="http://schemas.microsoft.com/office/powerpoint/2010/main" val="3302065434"/>
              </p:ext>
            </p:extLst>
          </p:nvPr>
        </p:nvGraphicFramePr>
        <p:xfrm>
          <a:off x="491581" y="1901007"/>
          <a:ext cx="11208838" cy="3869168"/>
        </p:xfrm>
        <a:graphic>
          <a:graphicData uri="http://schemas.openxmlformats.org/drawingml/2006/table">
            <a:tbl>
              <a:tblPr firstRow="1" lastRow="1"/>
              <a:tblGrid>
                <a:gridCol w="2126822">
                  <a:extLst>
                    <a:ext uri="{9D8B030D-6E8A-4147-A177-3AD203B41FA5}">
                      <a16:colId xmlns:a16="http://schemas.microsoft.com/office/drawing/2014/main" val="20000"/>
                    </a:ext>
                  </a:extLst>
                </a:gridCol>
                <a:gridCol w="567626">
                  <a:extLst>
                    <a:ext uri="{9D8B030D-6E8A-4147-A177-3AD203B41FA5}">
                      <a16:colId xmlns:a16="http://schemas.microsoft.com/office/drawing/2014/main" val="20001"/>
                    </a:ext>
                  </a:extLst>
                </a:gridCol>
                <a:gridCol w="567626">
                  <a:extLst>
                    <a:ext uri="{9D8B030D-6E8A-4147-A177-3AD203B41FA5}">
                      <a16:colId xmlns:a16="http://schemas.microsoft.com/office/drawing/2014/main" val="20002"/>
                    </a:ext>
                  </a:extLst>
                </a:gridCol>
                <a:gridCol w="567626">
                  <a:extLst>
                    <a:ext uri="{9D8B030D-6E8A-4147-A177-3AD203B41FA5}">
                      <a16:colId xmlns:a16="http://schemas.microsoft.com/office/drawing/2014/main" val="20004"/>
                    </a:ext>
                  </a:extLst>
                </a:gridCol>
                <a:gridCol w="567626">
                  <a:extLst>
                    <a:ext uri="{9D8B030D-6E8A-4147-A177-3AD203B41FA5}">
                      <a16:colId xmlns:a16="http://schemas.microsoft.com/office/drawing/2014/main" val="20005"/>
                    </a:ext>
                  </a:extLst>
                </a:gridCol>
                <a:gridCol w="567626">
                  <a:extLst>
                    <a:ext uri="{9D8B030D-6E8A-4147-A177-3AD203B41FA5}">
                      <a16:colId xmlns:a16="http://schemas.microsoft.com/office/drawing/2014/main" val="20006"/>
                    </a:ext>
                  </a:extLst>
                </a:gridCol>
                <a:gridCol w="567626">
                  <a:extLst>
                    <a:ext uri="{9D8B030D-6E8A-4147-A177-3AD203B41FA5}">
                      <a16:colId xmlns:a16="http://schemas.microsoft.com/office/drawing/2014/main" val="506043401"/>
                    </a:ext>
                  </a:extLst>
                </a:gridCol>
                <a:gridCol w="567626">
                  <a:extLst>
                    <a:ext uri="{9D8B030D-6E8A-4147-A177-3AD203B41FA5}">
                      <a16:colId xmlns:a16="http://schemas.microsoft.com/office/drawing/2014/main" val="3171135239"/>
                    </a:ext>
                  </a:extLst>
                </a:gridCol>
                <a:gridCol w="567626">
                  <a:extLst>
                    <a:ext uri="{9D8B030D-6E8A-4147-A177-3AD203B41FA5}">
                      <a16:colId xmlns:a16="http://schemas.microsoft.com/office/drawing/2014/main" val="1460979542"/>
                    </a:ext>
                  </a:extLst>
                </a:gridCol>
                <a:gridCol w="567626">
                  <a:extLst>
                    <a:ext uri="{9D8B030D-6E8A-4147-A177-3AD203B41FA5}">
                      <a16:colId xmlns:a16="http://schemas.microsoft.com/office/drawing/2014/main" val="452953532"/>
                    </a:ext>
                  </a:extLst>
                </a:gridCol>
                <a:gridCol w="567626">
                  <a:extLst>
                    <a:ext uri="{9D8B030D-6E8A-4147-A177-3AD203B41FA5}">
                      <a16:colId xmlns:a16="http://schemas.microsoft.com/office/drawing/2014/main" val="3333243180"/>
                    </a:ext>
                  </a:extLst>
                </a:gridCol>
                <a:gridCol w="567626">
                  <a:extLst>
                    <a:ext uri="{9D8B030D-6E8A-4147-A177-3AD203B41FA5}">
                      <a16:colId xmlns:a16="http://schemas.microsoft.com/office/drawing/2014/main" val="894560049"/>
                    </a:ext>
                  </a:extLst>
                </a:gridCol>
                <a:gridCol w="567626">
                  <a:extLst>
                    <a:ext uri="{9D8B030D-6E8A-4147-A177-3AD203B41FA5}">
                      <a16:colId xmlns:a16="http://schemas.microsoft.com/office/drawing/2014/main" val="3398538939"/>
                    </a:ext>
                  </a:extLst>
                </a:gridCol>
                <a:gridCol w="567626">
                  <a:extLst>
                    <a:ext uri="{9D8B030D-6E8A-4147-A177-3AD203B41FA5}">
                      <a16:colId xmlns:a16="http://schemas.microsoft.com/office/drawing/2014/main" val="3319502007"/>
                    </a:ext>
                  </a:extLst>
                </a:gridCol>
                <a:gridCol w="567626">
                  <a:extLst>
                    <a:ext uri="{9D8B030D-6E8A-4147-A177-3AD203B41FA5}">
                      <a16:colId xmlns:a16="http://schemas.microsoft.com/office/drawing/2014/main" val="3666736688"/>
                    </a:ext>
                  </a:extLst>
                </a:gridCol>
                <a:gridCol w="567626">
                  <a:extLst>
                    <a:ext uri="{9D8B030D-6E8A-4147-A177-3AD203B41FA5}">
                      <a16:colId xmlns:a16="http://schemas.microsoft.com/office/drawing/2014/main" val="2127082161"/>
                    </a:ext>
                  </a:extLst>
                </a:gridCol>
                <a:gridCol w="567626">
                  <a:extLst>
                    <a:ext uri="{9D8B030D-6E8A-4147-A177-3AD203B41FA5}">
                      <a16:colId xmlns:a16="http://schemas.microsoft.com/office/drawing/2014/main" val="2584012582"/>
                    </a:ext>
                  </a:extLst>
                </a:gridCol>
              </a:tblGrid>
              <a:tr h="8421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4D4D4D"/>
                          </a:solidFill>
                          <a:effectLst/>
                          <a:uLnTx/>
                          <a:uFillTx/>
                          <a:latin typeface="Lato Heavy" charset="0"/>
                          <a:ea typeface="Lato Heavy" charset="0"/>
                          <a:cs typeface="Lato Heavy" charset="0"/>
                          <a:sym typeface="Arial"/>
                          <a:rtl val="0"/>
                        </a:rPr>
                        <a:t>ACTIVITY</a:t>
                      </a:r>
                      <a:endParaRPr lang="en-US" sz="1400" b="1" i="0" dirty="0">
                        <a:solidFill>
                          <a:srgbClr val="4D4D4D"/>
                        </a:solidFill>
                        <a:latin typeface="Lato Heavy" charset="0"/>
                        <a:ea typeface="Lato Heavy" charset="0"/>
                        <a:cs typeface="Lato Heavy" charset="0"/>
                      </a:endParaRPr>
                    </a:p>
                  </a:txBody>
                  <a:tcPr marL="82330" marR="82330" marT="41165" marB="41165" anchor="ctr">
                    <a:lnL w="12700" cap="flat" cmpd="sng" algn="ctr">
                      <a:solidFill>
                        <a:srgbClr val="FFFFFF"/>
                      </a:solidFill>
                      <a:prstDash val="solid"/>
                      <a:round/>
                      <a:headEnd type="none" w="med" len="med"/>
                      <a:tailEnd type="none" w="med" len="med"/>
                    </a:lnL>
                    <a:lnR w="12700" cmpd="sng">
                      <a:solidFill>
                        <a:srgbClr val="FFFFFF"/>
                      </a:solidFill>
                    </a:lnR>
                    <a:lnT w="6350" cap="flat" cmpd="sng" algn="ctr">
                      <a:solidFill>
                        <a:schemeClr val="bg1">
                          <a:lumMod val="75000"/>
                        </a:schemeClr>
                      </a:solidFill>
                      <a:prstDash val="solid"/>
                      <a:round/>
                      <a:headEnd type="none" w="med" len="med"/>
                      <a:tailEnd type="none" w="med" len="med"/>
                    </a:lnT>
                    <a:lnB w="76200" cap="flat" cmpd="sng" algn="ctr">
                      <a:solidFill>
                        <a:srgbClr val="4D4D4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1" i="0" dirty="0">
                          <a:solidFill>
                            <a:srgbClr val="4D4D4D"/>
                          </a:solidFill>
                          <a:latin typeface="Lato Heavy" charset="0"/>
                          <a:ea typeface="Lato Heavy" charset="0"/>
                          <a:cs typeface="Lato Heavy" charset="0"/>
                        </a:rPr>
                        <a:t>Week 1</a:t>
                      </a:r>
                    </a:p>
                  </a:txBody>
                  <a:tcPr marL="82330" marR="194481" marT="42138" marB="41165"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76200" cap="flat" cmpd="sng" algn="ctr">
                      <a:solidFill>
                        <a:srgbClr val="4D4D4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1" i="0" dirty="0">
                          <a:solidFill>
                            <a:srgbClr val="4D4D4D"/>
                          </a:solidFill>
                          <a:latin typeface="Lato Heavy" charset="0"/>
                          <a:ea typeface="Lato Heavy" charset="0"/>
                          <a:cs typeface="Lato Heavy" charset="0"/>
                        </a:rPr>
                        <a:t>Week 2</a:t>
                      </a:r>
                    </a:p>
                  </a:txBody>
                  <a:tcPr marL="82330" marR="194481" marT="42138" marB="41165"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76200" cap="flat" cmpd="sng" algn="ctr">
                      <a:solidFill>
                        <a:srgbClr val="4D4D4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1" i="0" dirty="0">
                          <a:solidFill>
                            <a:srgbClr val="4D4D4D"/>
                          </a:solidFill>
                          <a:latin typeface="Lato Heavy" charset="0"/>
                          <a:ea typeface="Lato Heavy" charset="0"/>
                          <a:cs typeface="Lato Heavy" charset="0"/>
                        </a:rPr>
                        <a:t>Week 3</a:t>
                      </a:r>
                    </a:p>
                  </a:txBody>
                  <a:tcPr marL="82330" marR="194481" marT="42138" marB="41165"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76200" cap="flat" cmpd="sng" algn="ctr">
                      <a:solidFill>
                        <a:srgbClr val="4D4D4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1" i="0" dirty="0">
                          <a:solidFill>
                            <a:srgbClr val="4D4D4D"/>
                          </a:solidFill>
                          <a:latin typeface="Lato Heavy" charset="0"/>
                          <a:ea typeface="Lato Heavy" charset="0"/>
                          <a:cs typeface="Lato Heavy" charset="0"/>
                        </a:rPr>
                        <a:t>Week 4</a:t>
                      </a:r>
                    </a:p>
                  </a:txBody>
                  <a:tcPr marL="82330" marR="194481" marT="42138" marB="41165"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76200" cap="flat" cmpd="sng" algn="ctr">
                      <a:solidFill>
                        <a:srgbClr val="4D4D4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1" i="0" dirty="0">
                          <a:solidFill>
                            <a:srgbClr val="4D4D4D"/>
                          </a:solidFill>
                          <a:latin typeface="Lato Heavy" charset="0"/>
                          <a:ea typeface="Lato Heavy" charset="0"/>
                          <a:cs typeface="Lato Heavy" charset="0"/>
                        </a:rPr>
                        <a:t>Week 5</a:t>
                      </a:r>
                    </a:p>
                  </a:txBody>
                  <a:tcPr marL="82330" marR="194481" marT="42138" marB="41165"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76200" cap="flat" cmpd="sng" algn="ctr">
                      <a:solidFill>
                        <a:srgbClr val="4D4D4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1" i="0" dirty="0">
                          <a:solidFill>
                            <a:srgbClr val="4D4D4D"/>
                          </a:solidFill>
                          <a:latin typeface="Lato Heavy" charset="0"/>
                          <a:ea typeface="Lato Heavy" charset="0"/>
                          <a:cs typeface="Lato Heavy" charset="0"/>
                        </a:rPr>
                        <a:t>Week 6</a:t>
                      </a:r>
                    </a:p>
                  </a:txBody>
                  <a:tcPr marL="82330" marR="194481" marT="42138" marB="41165"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76200" cap="flat" cmpd="sng" algn="ctr">
                      <a:solidFill>
                        <a:srgbClr val="4D4D4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1" i="0" dirty="0">
                          <a:solidFill>
                            <a:srgbClr val="4D4D4D"/>
                          </a:solidFill>
                          <a:latin typeface="Lato Heavy" charset="0"/>
                          <a:ea typeface="Lato Heavy" charset="0"/>
                          <a:cs typeface="Lato Heavy" charset="0"/>
                        </a:rPr>
                        <a:t>Week 7</a:t>
                      </a:r>
                    </a:p>
                  </a:txBody>
                  <a:tcPr marL="82330" marR="194481" marT="42138" marB="41165"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76200" cap="flat" cmpd="sng" algn="ctr">
                      <a:solidFill>
                        <a:srgbClr val="4D4D4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1" i="0" dirty="0">
                          <a:solidFill>
                            <a:srgbClr val="4D4D4D"/>
                          </a:solidFill>
                          <a:latin typeface="Lato Heavy" charset="0"/>
                          <a:ea typeface="Lato Heavy" charset="0"/>
                          <a:cs typeface="Lato Heavy" charset="0"/>
                        </a:rPr>
                        <a:t>Week 8</a:t>
                      </a:r>
                    </a:p>
                  </a:txBody>
                  <a:tcPr marL="82330" marR="194481" marT="42138" marB="41165"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76200" cap="flat" cmpd="sng" algn="ctr">
                      <a:solidFill>
                        <a:srgbClr val="4D4D4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1" i="0" dirty="0">
                          <a:solidFill>
                            <a:srgbClr val="4D4D4D"/>
                          </a:solidFill>
                          <a:latin typeface="Lato Heavy" charset="0"/>
                          <a:ea typeface="Lato Heavy" charset="0"/>
                          <a:cs typeface="Lato Heavy" charset="0"/>
                        </a:rPr>
                        <a:t>Week 9</a:t>
                      </a:r>
                    </a:p>
                  </a:txBody>
                  <a:tcPr marL="82330" marR="194481" marT="42138" marB="41165"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76200" cap="flat" cmpd="sng" algn="ctr">
                      <a:solidFill>
                        <a:srgbClr val="4D4D4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1" i="0" dirty="0">
                          <a:solidFill>
                            <a:srgbClr val="4D4D4D"/>
                          </a:solidFill>
                          <a:latin typeface="Lato Heavy" charset="0"/>
                          <a:ea typeface="Lato Heavy" charset="0"/>
                          <a:cs typeface="Lato Heavy" charset="0"/>
                        </a:rPr>
                        <a:t>Week 10</a:t>
                      </a:r>
                    </a:p>
                  </a:txBody>
                  <a:tcPr marL="82330" marR="194481" marT="42138" marB="41165"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76200" cap="flat" cmpd="sng" algn="ctr">
                      <a:solidFill>
                        <a:srgbClr val="4D4D4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1" i="0" dirty="0">
                          <a:solidFill>
                            <a:srgbClr val="4D4D4D"/>
                          </a:solidFill>
                          <a:latin typeface="Lato Heavy" charset="0"/>
                          <a:ea typeface="Lato Heavy" charset="0"/>
                          <a:cs typeface="Lato Heavy" charset="0"/>
                        </a:rPr>
                        <a:t>Week 11</a:t>
                      </a:r>
                    </a:p>
                  </a:txBody>
                  <a:tcPr marL="82330" marR="194481" marT="42138" marB="41165"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76200" cap="flat" cmpd="sng" algn="ctr">
                      <a:solidFill>
                        <a:srgbClr val="4D4D4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1" i="0" dirty="0">
                          <a:solidFill>
                            <a:srgbClr val="4D4D4D"/>
                          </a:solidFill>
                          <a:latin typeface="Lato Heavy" charset="0"/>
                          <a:ea typeface="Lato Heavy" charset="0"/>
                          <a:cs typeface="Lato Heavy" charset="0"/>
                        </a:rPr>
                        <a:t>Week 12</a:t>
                      </a:r>
                    </a:p>
                  </a:txBody>
                  <a:tcPr marL="82330" marR="194481" marT="42138" marB="41165"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76200" cap="flat" cmpd="sng" algn="ctr">
                      <a:solidFill>
                        <a:srgbClr val="4D4D4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1" i="0" dirty="0">
                          <a:solidFill>
                            <a:srgbClr val="4D4D4D"/>
                          </a:solidFill>
                          <a:latin typeface="Lato Heavy" charset="0"/>
                          <a:ea typeface="Lato Heavy" charset="0"/>
                          <a:cs typeface="Lato Heavy" charset="0"/>
                        </a:rPr>
                        <a:t>Week 13</a:t>
                      </a:r>
                    </a:p>
                  </a:txBody>
                  <a:tcPr marL="82330" marR="194481" marT="42138" marB="41165"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76200" cap="flat" cmpd="sng" algn="ctr">
                      <a:solidFill>
                        <a:srgbClr val="4D4D4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1" i="0" dirty="0">
                          <a:solidFill>
                            <a:srgbClr val="4D4D4D"/>
                          </a:solidFill>
                          <a:latin typeface="Lato Heavy" charset="0"/>
                          <a:ea typeface="Lato Heavy" charset="0"/>
                          <a:cs typeface="Lato Heavy" charset="0"/>
                        </a:rPr>
                        <a:t>Week 14</a:t>
                      </a:r>
                    </a:p>
                  </a:txBody>
                  <a:tcPr marL="82330" marR="194481" marT="42138" marB="41165"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76200" cap="flat" cmpd="sng" algn="ctr">
                      <a:solidFill>
                        <a:srgbClr val="4D4D4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1" i="0" dirty="0">
                          <a:solidFill>
                            <a:srgbClr val="4D4D4D"/>
                          </a:solidFill>
                          <a:latin typeface="Lato Heavy" charset="0"/>
                          <a:ea typeface="Lato Heavy" charset="0"/>
                          <a:cs typeface="Lato Heavy" charset="0"/>
                        </a:rPr>
                        <a:t>Week 15</a:t>
                      </a:r>
                    </a:p>
                  </a:txBody>
                  <a:tcPr marL="82330" marR="194481" marT="42138" marB="41165"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76200" cap="flat" cmpd="sng" algn="ctr">
                      <a:solidFill>
                        <a:srgbClr val="4D4D4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1" i="0" dirty="0">
                          <a:solidFill>
                            <a:srgbClr val="4D4D4D"/>
                          </a:solidFill>
                          <a:latin typeface="Lato Heavy" charset="0"/>
                          <a:ea typeface="Lato Heavy" charset="0"/>
                          <a:cs typeface="Lato Heavy" charset="0"/>
                        </a:rPr>
                        <a:t>Week 16</a:t>
                      </a:r>
                    </a:p>
                  </a:txBody>
                  <a:tcPr marL="82330" marR="194481" marT="42138" marB="41165"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76200" cap="flat" cmpd="sng" algn="ctr">
                      <a:solidFill>
                        <a:srgbClr val="4D4D4D"/>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197619">
                <a:tc rowSpan="3">
                  <a:txBody>
                    <a:bodyPr/>
                    <a:lstStyle/>
                    <a:p>
                      <a:pPr marL="285750" indent="-285750" algn="l" fontAlgn="b">
                        <a:buFont typeface="LucidaGrande" charset="0"/>
                        <a:buChar char="⇢"/>
                      </a:pPr>
                      <a:r>
                        <a:rPr lang="en-US" sz="1300" b="0" i="0" u="none" strike="noStrike" dirty="0">
                          <a:solidFill>
                            <a:srgbClr val="4D4D4D"/>
                          </a:solidFill>
                          <a:effectLst/>
                          <a:latin typeface="Lato" charset="0"/>
                          <a:ea typeface="Lato" charset="0"/>
                          <a:cs typeface="Lato" charset="0"/>
                        </a:rPr>
                        <a:t>Discovery and Analysis</a:t>
                      </a:r>
                    </a:p>
                  </a:txBody>
                  <a:tcPr marL="81034" marR="82330" marT="129654" marB="129654" anchor="ctr">
                    <a:lnL w="381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76200" cap="flat" cmpd="sng" algn="ctr">
                      <a:solidFill>
                        <a:srgbClr val="4D4D4D"/>
                      </a:solidFill>
                      <a:prstDash val="solid"/>
                      <a:round/>
                      <a:headEnd type="none" w="med" len="med"/>
                      <a:tailEnd type="none" w="med" len="med"/>
                    </a:lnT>
                    <a:lnB w="762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solidFill>
                        <a:srgbClr val="4D4D4D"/>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solidFill>
                        <a:srgbClr val="4D4D4D"/>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solidFill>
                        <a:srgbClr val="4D4D4D"/>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solidFill>
                        <a:srgbClr val="4D4D4D"/>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solidFill>
                        <a:srgbClr val="4D4D4D"/>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solidFill>
                        <a:srgbClr val="4D4D4D"/>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solidFill>
                        <a:srgbClr val="4D4D4D"/>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solidFill>
                        <a:srgbClr val="4D4D4D"/>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solidFill>
                        <a:srgbClr val="4D4D4D"/>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solidFill>
                        <a:srgbClr val="4D4D4D"/>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solidFill>
                        <a:srgbClr val="4D4D4D"/>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solidFill>
                        <a:srgbClr val="4D4D4D"/>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solidFill>
                        <a:srgbClr val="4D4D4D"/>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solidFill>
                        <a:srgbClr val="4D4D4D"/>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solidFill>
                        <a:srgbClr val="4D4D4D"/>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solidFill>
                        <a:srgbClr val="4D4D4D"/>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197619">
                <a:tc vMerge="1">
                  <a:txBody>
                    <a:bodyPr/>
                    <a:lstStyle/>
                    <a:p>
                      <a:endParaRPr lang="en-US"/>
                    </a:p>
                  </a:txBody>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F94E29"/>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197619">
                <a:tc vMerge="1">
                  <a:txBody>
                    <a:bodyPr/>
                    <a:lstStyle/>
                    <a:p>
                      <a:endParaRPr lang="en-US"/>
                    </a:p>
                  </a:txBody>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197619">
                <a:tc rowSpan="3">
                  <a:txBody>
                    <a:bodyPr/>
                    <a:lstStyle/>
                    <a:p>
                      <a:pPr marL="285750" indent="-285750" algn="l" fontAlgn="b">
                        <a:buFont typeface="LucidaGrande" charset="0"/>
                        <a:buChar char="⇢"/>
                      </a:pPr>
                      <a:r>
                        <a:rPr lang="en-US" sz="1300" b="0" i="0" u="none" strike="noStrike" baseline="0" dirty="0">
                          <a:solidFill>
                            <a:srgbClr val="4D4D4D"/>
                          </a:solidFill>
                          <a:effectLst/>
                          <a:latin typeface="Lato" charset="0"/>
                          <a:ea typeface="Lato" charset="0"/>
                          <a:cs typeface="Lato" charset="0"/>
                        </a:rPr>
                        <a:t>Design</a:t>
                      </a:r>
                    </a:p>
                  </a:txBody>
                  <a:tcPr marL="81034" marR="82330" marT="129654" marB="129654" anchor="ctr">
                    <a:lnL w="381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76200" cap="flat" cmpd="sng" algn="ctr">
                      <a:solidFill>
                        <a:schemeClr val="bg1">
                          <a:lumMod val="95000"/>
                        </a:schemeClr>
                      </a:solidFill>
                      <a:prstDash val="solid"/>
                      <a:round/>
                      <a:headEnd type="none" w="med" len="med"/>
                      <a:tailEnd type="none" w="med" len="med"/>
                    </a:lnT>
                    <a:lnB w="762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53235707"/>
                  </a:ext>
                </a:extLst>
              </a:tr>
              <a:tr h="197619">
                <a:tc vMerge="1">
                  <a:txBody>
                    <a:bodyPr/>
                    <a:lstStyle/>
                    <a:p>
                      <a:pPr marL="285750" indent="-285750" algn="l" fontAlgn="b">
                        <a:buFont typeface="LucidaGrande" charset="0"/>
                        <a:buChar char="⇢"/>
                      </a:pPr>
                      <a:endParaRPr lang="en-US" sz="1300" b="0" i="0" u="none" strike="noStrike" baseline="0" dirty="0">
                        <a:solidFill>
                          <a:srgbClr val="4D4D4D"/>
                        </a:solidFill>
                        <a:effectLst/>
                        <a:latin typeface="Lato" charset="0"/>
                        <a:ea typeface="Lato" charset="0"/>
                        <a:cs typeface="Lato" charset="0"/>
                      </a:endParaRPr>
                    </a:p>
                  </a:txBody>
                  <a:tcPr marL="81034" marR="82330" marT="129654" marB="129654" anchor="ctr">
                    <a:lnL w="381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76200" cap="flat" cmpd="sng" algn="ctr">
                      <a:solidFill>
                        <a:schemeClr val="bg1">
                          <a:lumMod val="95000"/>
                        </a:schemeClr>
                      </a:solidFill>
                      <a:prstDash val="solid"/>
                      <a:round/>
                      <a:headEnd type="none" w="med" len="med"/>
                      <a:tailEnd type="none" w="med" len="med"/>
                    </a:lnT>
                    <a:lnB w="762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8001350"/>
                  </a:ext>
                </a:extLst>
              </a:tr>
              <a:tr h="197619">
                <a:tc vMerge="1">
                  <a:txBody>
                    <a:bodyPr/>
                    <a:lstStyle/>
                    <a:p>
                      <a:pPr marL="285750" indent="-285750" algn="l" fontAlgn="b">
                        <a:buFont typeface="LucidaGrande" charset="0"/>
                        <a:buChar char="⇢"/>
                      </a:pPr>
                      <a:endParaRPr lang="en-US" sz="1300" b="0" i="0" u="none" strike="noStrike" baseline="0" dirty="0">
                        <a:solidFill>
                          <a:srgbClr val="4D4D4D"/>
                        </a:solidFill>
                        <a:effectLst/>
                        <a:latin typeface="Lato" charset="0"/>
                        <a:ea typeface="Lato" charset="0"/>
                        <a:cs typeface="Lato" charset="0"/>
                      </a:endParaRPr>
                    </a:p>
                  </a:txBody>
                  <a:tcPr marL="81034" marR="82330" marT="129654" marB="129654" anchor="ctr">
                    <a:lnL w="381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76200" cap="flat" cmpd="sng" algn="ctr">
                      <a:solidFill>
                        <a:schemeClr val="bg1">
                          <a:lumMod val="95000"/>
                        </a:schemeClr>
                      </a:solidFill>
                      <a:prstDash val="solid"/>
                      <a:round/>
                      <a:headEnd type="none" w="med" len="med"/>
                      <a:tailEnd type="none" w="med" len="med"/>
                    </a:lnT>
                    <a:lnB w="762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98492392"/>
                  </a:ext>
                </a:extLst>
              </a:tr>
              <a:tr h="197619">
                <a:tc rowSpan="3">
                  <a:txBody>
                    <a:bodyPr/>
                    <a:lstStyle/>
                    <a:p>
                      <a:pPr marL="285750" indent="-285750" algn="l" fontAlgn="b">
                        <a:buFont typeface="LucidaGrande" charset="0"/>
                        <a:buChar char="⇢"/>
                      </a:pPr>
                      <a:r>
                        <a:rPr lang="en-US" sz="1300" b="0" i="0" u="none" strike="noStrike" dirty="0">
                          <a:solidFill>
                            <a:srgbClr val="4D4D4D"/>
                          </a:solidFill>
                          <a:effectLst/>
                          <a:latin typeface="Lato" charset="0"/>
                          <a:ea typeface="Lato" charset="0"/>
                          <a:cs typeface="Lato" charset="0"/>
                        </a:rPr>
                        <a:t>Development and Execution</a:t>
                      </a:r>
                      <a:endParaRPr lang="en-US" sz="1300" b="0" i="0" u="none" strike="noStrike" baseline="0" dirty="0">
                        <a:solidFill>
                          <a:srgbClr val="4D4D4D"/>
                        </a:solidFill>
                        <a:effectLst/>
                        <a:latin typeface="Lato" charset="0"/>
                        <a:ea typeface="Lato" charset="0"/>
                        <a:cs typeface="Lato" charset="0"/>
                      </a:endParaRPr>
                    </a:p>
                  </a:txBody>
                  <a:tcPr marL="81034" marR="82330" marT="129654" marB="129654" anchor="ctr">
                    <a:lnL w="381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76200" cap="flat" cmpd="sng" algn="ctr">
                      <a:solidFill>
                        <a:schemeClr val="bg1">
                          <a:lumMod val="95000"/>
                        </a:schemeClr>
                      </a:solidFill>
                      <a:prstDash val="solid"/>
                      <a:round/>
                      <a:headEnd type="none" w="med" len="med"/>
                      <a:tailEnd type="none" w="med" len="med"/>
                    </a:lnT>
                    <a:lnB w="762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197619">
                <a:tc vMerge="1">
                  <a:txBody>
                    <a:bodyPr/>
                    <a:lstStyle/>
                    <a:p>
                      <a:endParaRPr lang="en-US"/>
                    </a:p>
                  </a:txBody>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5"/>
                  </a:ext>
                </a:extLst>
              </a:tr>
              <a:tr h="197619">
                <a:tc vMerge="1">
                  <a:txBody>
                    <a:bodyPr/>
                    <a:lstStyle/>
                    <a:p>
                      <a:endParaRPr lang="en-US"/>
                    </a:p>
                  </a:txBody>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197619">
                <a:tc rowSpan="3">
                  <a:txBody>
                    <a:bodyPr/>
                    <a:lstStyle/>
                    <a:p>
                      <a:pPr marL="285750" indent="-285750" algn="l" fontAlgn="b">
                        <a:buFont typeface="LucidaGrande" charset="0"/>
                        <a:buChar char="⇢"/>
                      </a:pPr>
                      <a:endParaRPr lang="en-US" sz="1300" b="0" i="0" u="none" strike="noStrike" baseline="0" dirty="0">
                        <a:solidFill>
                          <a:srgbClr val="4D4D4D"/>
                        </a:solidFill>
                        <a:effectLst/>
                        <a:latin typeface="Lato" charset="0"/>
                        <a:ea typeface="Lato" charset="0"/>
                        <a:cs typeface="Lato" charset="0"/>
                      </a:endParaRPr>
                    </a:p>
                  </a:txBody>
                  <a:tcPr marL="81034" marR="82330" marT="129654" marB="129654" anchor="ctr">
                    <a:lnL w="381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76200" cap="flat" cmpd="sng" algn="ctr">
                      <a:solidFill>
                        <a:schemeClr val="bg1">
                          <a:lumMod val="95000"/>
                        </a:schemeClr>
                      </a:solidFill>
                      <a:prstDash val="solid"/>
                      <a:round/>
                      <a:headEnd type="none" w="med" len="med"/>
                      <a:tailEnd type="none" w="med" len="med"/>
                    </a:lnT>
                    <a:lnB w="762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7"/>
                  </a:ext>
                </a:extLst>
              </a:tr>
              <a:tr h="197619">
                <a:tc vMerge="1">
                  <a:txBody>
                    <a:bodyPr/>
                    <a:lstStyle/>
                    <a:p>
                      <a:endParaRPr lang="en-US"/>
                    </a:p>
                  </a:txBody>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197619">
                <a:tc vMerge="1">
                  <a:txBody>
                    <a:bodyPr/>
                    <a:lstStyle/>
                    <a:p>
                      <a:endParaRPr lang="en-US"/>
                    </a:p>
                  </a:txBody>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9"/>
                  </a:ext>
                </a:extLst>
              </a:tr>
              <a:tr h="197619">
                <a:tc rowSpan="3">
                  <a:txBody>
                    <a:bodyPr/>
                    <a:lstStyle/>
                    <a:p>
                      <a:pPr marL="285750" marR="0" indent="-285750" algn="l" defTabSz="914400" rtl="0" eaLnBrk="1" fontAlgn="b" latinLnBrk="0" hangingPunct="1">
                        <a:lnSpc>
                          <a:spcPct val="100000"/>
                        </a:lnSpc>
                        <a:spcBef>
                          <a:spcPts val="0"/>
                        </a:spcBef>
                        <a:spcAft>
                          <a:spcPts val="0"/>
                        </a:spcAft>
                        <a:buClrTx/>
                        <a:buSzTx/>
                        <a:buFont typeface="LucidaGrande" charset="0"/>
                        <a:buChar char="⇢"/>
                        <a:tabLst/>
                        <a:defRPr/>
                      </a:pPr>
                      <a:endParaRPr lang="mr-IN" sz="1300" b="0" i="0" u="none" strike="noStrike" dirty="0">
                        <a:solidFill>
                          <a:srgbClr val="4D4D4D"/>
                        </a:solidFill>
                        <a:effectLst/>
                        <a:latin typeface="Lato" charset="0"/>
                        <a:ea typeface="Lato" charset="0"/>
                        <a:cs typeface="Lato" charset="0"/>
                      </a:endParaRPr>
                    </a:p>
                  </a:txBody>
                  <a:tcPr marL="81034" marR="82330" marT="129654" marB="129654" anchor="ctr">
                    <a:lnL w="381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76200" cap="flat" cmpd="sng" algn="ctr">
                      <a:solidFill>
                        <a:schemeClr val="bg1">
                          <a:lumMod val="95000"/>
                        </a:schemeClr>
                      </a:solidFill>
                      <a:prstDash val="solid"/>
                      <a:round/>
                      <a:headEnd type="none" w="med" len="med"/>
                      <a:tailEnd type="none" w="med" len="med"/>
                    </a:lnT>
                    <a:lnB w="76200" cap="flat" cmpd="sng" algn="ctr">
                      <a:solidFill>
                        <a:srgbClr val="4D4D4D"/>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197619">
                <a:tc vMerge="1">
                  <a:txBody>
                    <a:bodyPr/>
                    <a:lstStyle/>
                    <a:p>
                      <a:endParaRPr lang="en-US"/>
                    </a:p>
                  </a:txBody>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1"/>
                  </a:ext>
                </a:extLst>
              </a:tr>
              <a:tr h="197619">
                <a:tc vMerge="1">
                  <a:txBody>
                    <a:bodyPr/>
                    <a:lstStyle/>
                    <a:p>
                      <a:endParaRPr lang="en-US"/>
                    </a:p>
                  </a:txBody>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rgbClr val="4D4D4D"/>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rgbClr val="4D4D4D"/>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rgbClr val="4D4D4D"/>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rgbClr val="4D4D4D"/>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rgbClr val="4D4D4D"/>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rgbClr val="4D4D4D"/>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rgbClr val="4D4D4D"/>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rgbClr val="4D4D4D"/>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rgbClr val="4D4D4D"/>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rgbClr val="4D4D4D"/>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rgbClr val="4D4D4D"/>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rgbClr val="4D4D4D"/>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rgbClr val="4D4D4D"/>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rgbClr val="4D4D4D"/>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rgbClr val="4D4D4D"/>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is-IS" sz="1100" b="0" i="0" u="none" strike="noStrike">
                        <a:solidFill>
                          <a:srgbClr val="4D4D4D"/>
                        </a:solidFill>
                        <a:effectLst/>
                        <a:latin typeface="Lato" charset="0"/>
                        <a:ea typeface="Lato" charset="0"/>
                        <a:cs typeface="Lato" charset="0"/>
                      </a:endParaRPr>
                    </a:p>
                  </a:txBody>
                  <a:tcPr marL="81034" marR="194481"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rgbClr val="4D4D4D"/>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
        <p:nvSpPr>
          <p:cNvPr id="9" name="Rectangle 8">
            <a:extLst>
              <a:ext uri="{FF2B5EF4-FFF2-40B4-BE49-F238E27FC236}">
                <a16:creationId xmlns:a16="http://schemas.microsoft.com/office/drawing/2014/main" id="{7D864BD4-9006-3A46-8A85-9ACC514F4D01}"/>
              </a:ext>
            </a:extLst>
          </p:cNvPr>
          <p:cNvSpPr/>
          <p:nvPr/>
        </p:nvSpPr>
        <p:spPr>
          <a:xfrm>
            <a:off x="386330" y="1008276"/>
            <a:ext cx="11805670" cy="618118"/>
          </a:xfrm>
          <a:prstGeom prst="rect">
            <a:avLst/>
          </a:prstGeom>
        </p:spPr>
        <p:txBody>
          <a:bodyPr wrap="square">
            <a:spAutoFit/>
          </a:bodyPr>
          <a:lstStyle/>
          <a:p>
            <a:pPr>
              <a:lnSpc>
                <a:spcPts val="1801"/>
              </a:lnSpc>
              <a:spcAft>
                <a:spcPts val="540"/>
              </a:spcAft>
              <a:defRPr/>
            </a:pPr>
            <a:r>
              <a:rPr lang="en-US" sz="1680" b="1" dirty="0">
                <a:solidFill>
                  <a:srgbClr val="4D4D4D"/>
                </a:solidFill>
                <a:latin typeface="Lato Heavy" charset="0"/>
                <a:ea typeface="Lato Heavy" charset="0"/>
                <a:cs typeface="Lato Heavy" charset="0"/>
              </a:rPr>
              <a:t>We have proposed duration of 16 weeks for the development of JUnit Test Cases and test automation scripts</a:t>
            </a:r>
          </a:p>
          <a:p>
            <a:pPr>
              <a:lnSpc>
                <a:spcPts val="1801"/>
              </a:lnSpc>
              <a:spcAft>
                <a:spcPts val="540"/>
              </a:spcAft>
              <a:defRPr/>
            </a:pPr>
            <a:r>
              <a:rPr lang="en-US" sz="1441" dirty="0">
                <a:solidFill>
                  <a:srgbClr val="4D4D4D"/>
                </a:solidFill>
                <a:latin typeface="Lato" charset="0"/>
                <a:ea typeface="Lato" charset="0"/>
                <a:cs typeface="Lato" charset="0"/>
              </a:rPr>
              <a:t>During the SOW phase the actual start date of the project will be decided.</a:t>
            </a:r>
          </a:p>
        </p:txBody>
      </p:sp>
    </p:spTree>
    <p:extLst>
      <p:ext uri="{BB962C8B-B14F-4D97-AF65-F5344CB8AC3E}">
        <p14:creationId xmlns:p14="http://schemas.microsoft.com/office/powerpoint/2010/main" val="1784984399"/>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318AC4D-7241-4A28-9F94-0FE216B9504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t="11284" b="4752"/>
          <a:stretch/>
        </p:blipFill>
        <p:spPr>
          <a:xfrm>
            <a:off x="-2" y="784874"/>
            <a:ext cx="12195177" cy="5741936"/>
          </a:xfrm>
          <a:prstGeom prst="rect">
            <a:avLst/>
          </a:prstGeom>
        </p:spPr>
      </p:pic>
      <p:sp>
        <p:nvSpPr>
          <p:cNvPr id="2" name="Title 1">
            <a:extLst>
              <a:ext uri="{FF2B5EF4-FFF2-40B4-BE49-F238E27FC236}">
                <a16:creationId xmlns:a16="http://schemas.microsoft.com/office/drawing/2014/main" id="{1A159384-650A-44AC-84C2-4EC31C942BDF}"/>
              </a:ext>
            </a:extLst>
          </p:cNvPr>
          <p:cNvSpPr>
            <a:spLocks noGrp="1"/>
          </p:cNvSpPr>
          <p:nvPr>
            <p:ph type="title"/>
          </p:nvPr>
        </p:nvSpPr>
        <p:spPr/>
        <p:txBody>
          <a:bodyPr>
            <a:normAutofit/>
          </a:bodyPr>
          <a:lstStyle/>
          <a:p>
            <a:r>
              <a:rPr lang="en-US" sz="2800" dirty="0">
                <a:latin typeface="Lato" panose="020F0502020204030203"/>
              </a:rPr>
              <a:t>Assumptions</a:t>
            </a:r>
          </a:p>
        </p:txBody>
      </p:sp>
      <p:sp>
        <p:nvSpPr>
          <p:cNvPr id="5" name="Rounded Rectangle 4">
            <a:extLst>
              <a:ext uri="{FF2B5EF4-FFF2-40B4-BE49-F238E27FC236}">
                <a16:creationId xmlns:a16="http://schemas.microsoft.com/office/drawing/2014/main" id="{768EBE52-D26D-494E-8CAA-EFA439EE7987}"/>
              </a:ext>
            </a:extLst>
          </p:cNvPr>
          <p:cNvSpPr/>
          <p:nvPr/>
        </p:nvSpPr>
        <p:spPr>
          <a:xfrm>
            <a:off x="287725" y="1136462"/>
            <a:ext cx="11532568" cy="5175128"/>
          </a:xfrm>
          <a:prstGeom prst="roundRect">
            <a:avLst>
              <a:gd name="adj" fmla="val 1437"/>
            </a:avLst>
          </a:prstGeom>
          <a:solidFill>
            <a:schemeClr val="bg1"/>
          </a:solidFill>
          <a:ln w="3175">
            <a:solidFill>
              <a:srgbClr val="7F7F7F"/>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latin typeface="Lato" panose="020F0502020204030203"/>
            </a:endParaRPr>
          </a:p>
        </p:txBody>
      </p:sp>
      <p:sp>
        <p:nvSpPr>
          <p:cNvPr id="4" name="TextBox 3">
            <a:extLst>
              <a:ext uri="{FF2B5EF4-FFF2-40B4-BE49-F238E27FC236}">
                <a16:creationId xmlns:a16="http://schemas.microsoft.com/office/drawing/2014/main" id="{2E16153C-4B2F-4659-8ADE-3D7901D758F2}"/>
              </a:ext>
            </a:extLst>
          </p:cNvPr>
          <p:cNvSpPr txBox="1"/>
          <p:nvPr/>
        </p:nvSpPr>
        <p:spPr>
          <a:xfrm>
            <a:off x="235786" y="1060698"/>
            <a:ext cx="11584507" cy="5211107"/>
          </a:xfrm>
          <a:prstGeom prst="rect">
            <a:avLst/>
          </a:prstGeom>
          <a:noFill/>
        </p:spPr>
        <p:txBody>
          <a:bodyPr wrap="square" rtlCol="0">
            <a:spAutoFit/>
          </a:bodyPr>
          <a:lstStyle/>
          <a:p>
            <a:pPr marL="111125" lvl="1">
              <a:lnSpc>
                <a:spcPct val="150000"/>
              </a:lnSpc>
              <a:spcBef>
                <a:spcPts val="200"/>
              </a:spcBef>
              <a:spcAft>
                <a:spcPts val="200"/>
              </a:spcAft>
              <a:buClr>
                <a:srgbClr val="E66B17"/>
              </a:buClr>
              <a:buSzPct val="100000"/>
            </a:pPr>
            <a:r>
              <a:rPr lang="en-US" sz="1400" dirty="0">
                <a:latin typeface="Lato" panose="020F0502020204030203"/>
              </a:rPr>
              <a:t>Innominds has listed below few assumptions as a part of this engagement. Any changes to the assumptions listed below may have an impact on the planned test composition and cost.</a:t>
            </a:r>
          </a:p>
          <a:p>
            <a:pPr marL="111125" lvl="1">
              <a:lnSpc>
                <a:spcPct val="150000"/>
              </a:lnSpc>
              <a:spcBef>
                <a:spcPts val="200"/>
              </a:spcBef>
              <a:spcAft>
                <a:spcPts val="200"/>
              </a:spcAft>
              <a:buClr>
                <a:srgbClr val="E66B17"/>
              </a:buClr>
              <a:buSzPct val="100000"/>
            </a:pPr>
            <a:r>
              <a:rPr lang="en-US" sz="1400" b="1" u="sng" dirty="0">
                <a:latin typeface="Lato" panose="020F0502020204030203"/>
              </a:rPr>
              <a:t>Assumptions:</a:t>
            </a:r>
          </a:p>
          <a:p>
            <a:pPr marL="346075" lvl="1" indent="-234950">
              <a:lnSpc>
                <a:spcPct val="150000"/>
              </a:lnSpc>
              <a:spcBef>
                <a:spcPts val="200"/>
              </a:spcBef>
              <a:buClr>
                <a:srgbClr val="E66B17"/>
              </a:buClr>
              <a:buSzPct val="100000"/>
              <a:buFont typeface="Arial" panose="020B0604020202020204" pitchFamily="34" charset="0"/>
              <a:buChar char="•"/>
            </a:pPr>
            <a:r>
              <a:rPr lang="en-US" sz="1200" dirty="0">
                <a:latin typeface="Lato" panose="020F0502020204030203"/>
              </a:rPr>
              <a:t>Nasdaq will assign a Point of Contact to resolve any queries/issues for this engagement</a:t>
            </a:r>
          </a:p>
          <a:p>
            <a:pPr marL="346075" lvl="1" indent="-234950">
              <a:lnSpc>
                <a:spcPct val="150000"/>
              </a:lnSpc>
              <a:spcBef>
                <a:spcPts val="200"/>
              </a:spcBef>
              <a:buClr>
                <a:srgbClr val="E66B17"/>
              </a:buClr>
              <a:buSzPct val="100000"/>
              <a:buFont typeface="Arial" panose="020B0604020202020204" pitchFamily="34" charset="0"/>
              <a:buChar char="•"/>
            </a:pPr>
            <a:r>
              <a:rPr lang="en-US" sz="1200" dirty="0">
                <a:latin typeface="Lato" panose="020F0502020204030203"/>
              </a:rPr>
              <a:t>Innominds team will work in collaboration with Nasdaq and build test data needed for test execution</a:t>
            </a:r>
          </a:p>
          <a:p>
            <a:pPr marL="346075" lvl="1" indent="-234950">
              <a:lnSpc>
                <a:spcPct val="150000"/>
              </a:lnSpc>
              <a:spcBef>
                <a:spcPts val="200"/>
              </a:spcBef>
              <a:buClr>
                <a:srgbClr val="E66B17"/>
              </a:buClr>
              <a:buSzPct val="100000"/>
              <a:buFont typeface="Arial" panose="020B0604020202020204" pitchFamily="34" charset="0"/>
              <a:buChar char="•"/>
            </a:pPr>
            <a:r>
              <a:rPr lang="en-US" sz="1200" dirty="0">
                <a:latin typeface="Lato" panose="020F0502020204030203"/>
              </a:rPr>
              <a:t>We assume your application employs a layered architecture typical for web applications – API Layer, Service Layer and DAO (Data Access Layer) / Repository. </a:t>
            </a:r>
          </a:p>
          <a:p>
            <a:pPr marL="346075" lvl="1" indent="-234950">
              <a:lnSpc>
                <a:spcPct val="150000"/>
              </a:lnSpc>
              <a:spcBef>
                <a:spcPts val="200"/>
              </a:spcBef>
              <a:buClr>
                <a:srgbClr val="E66B17"/>
              </a:buClr>
              <a:buSzPct val="100000"/>
              <a:buFont typeface="Arial" panose="020B0604020202020204" pitchFamily="34" charset="0"/>
              <a:buChar char="•"/>
            </a:pPr>
            <a:r>
              <a:rPr lang="en-US" sz="1200" dirty="0">
                <a:latin typeface="Lato" panose="020F0502020204030203"/>
              </a:rPr>
              <a:t>We are of the view that JUnit test cases need to be developed only for the PUBLIC methods in the Service Layer (which typically exposes the business  functionality) – reason being DAO Layer / Entities / DTO (Data transfer object) get tested at the Service Layer, hence we exclude writing the JUnit test cases for these layers</a:t>
            </a:r>
          </a:p>
          <a:p>
            <a:pPr marL="346075" lvl="1" indent="-234950">
              <a:lnSpc>
                <a:spcPct val="150000"/>
              </a:lnSpc>
              <a:spcBef>
                <a:spcPts val="200"/>
              </a:spcBef>
              <a:buClr>
                <a:srgbClr val="E66B17"/>
              </a:buClr>
              <a:buSzPct val="100000"/>
              <a:buFont typeface="Arial" panose="020B0604020202020204" pitchFamily="34" charset="0"/>
              <a:buChar char="•"/>
            </a:pPr>
            <a:r>
              <a:rPr lang="en-US" sz="1200" dirty="0">
                <a:latin typeface="Lato" panose="020F0502020204030203"/>
              </a:rPr>
              <a:t>Across the application and classes (irrespective of layered architecture), there may be private methods (invoked and called upon by public or other methods) for which there may not be a need to write JUnit test cases</a:t>
            </a:r>
          </a:p>
          <a:p>
            <a:pPr marL="346075" lvl="1" indent="-234950">
              <a:lnSpc>
                <a:spcPct val="150000"/>
              </a:lnSpc>
              <a:spcBef>
                <a:spcPts val="200"/>
              </a:spcBef>
              <a:buClr>
                <a:srgbClr val="E66B17"/>
              </a:buClr>
              <a:buSzPct val="100000"/>
              <a:buFont typeface="Arial" panose="020B0604020202020204" pitchFamily="34" charset="0"/>
              <a:buChar char="•"/>
            </a:pPr>
            <a:r>
              <a:rPr lang="en-US" sz="1200" dirty="0">
                <a:latin typeface="Lato" panose="020F0502020204030203"/>
              </a:rPr>
              <a:t>During the course of the project execution, it’s realized to improve Unit test coverage the need to write additional JUnit Test cases for Private methods and methods part of DAO layer / Entities / DTO, Innominds will scope in additional 2000 such methods  (these are in addition to the private methods implicitly called by public methods) with impact on schedule of additional 1 month (overall schedule will change from 4 months to 5 months)</a:t>
            </a:r>
          </a:p>
          <a:p>
            <a:pPr marL="346075" lvl="1" indent="-234950">
              <a:lnSpc>
                <a:spcPct val="150000"/>
              </a:lnSpc>
              <a:spcBef>
                <a:spcPts val="200"/>
              </a:spcBef>
              <a:buClr>
                <a:srgbClr val="E66B17"/>
              </a:buClr>
              <a:buSzPct val="100000"/>
              <a:buFont typeface="Arial" panose="020B0604020202020204" pitchFamily="34" charset="0"/>
              <a:buChar char="•"/>
            </a:pPr>
            <a:r>
              <a:rPr lang="en-IN" sz="1200" dirty="0">
                <a:latin typeface="Lato" panose="020F0502020204030203"/>
              </a:rPr>
              <a:t>For end-to-end testing, we assume there are no more than 50 end-to-end test case scenarios considered in the scope for this SOW</a:t>
            </a:r>
            <a:endParaRPr lang="en-US" sz="1200" dirty="0">
              <a:latin typeface="Lato" panose="020F0502020204030203"/>
            </a:endParaRPr>
          </a:p>
          <a:p>
            <a:pPr marL="346075" lvl="1" indent="-234950">
              <a:lnSpc>
                <a:spcPct val="150000"/>
              </a:lnSpc>
              <a:spcBef>
                <a:spcPts val="200"/>
              </a:spcBef>
              <a:buClr>
                <a:srgbClr val="E66B17"/>
              </a:buClr>
              <a:buSzPct val="100000"/>
              <a:buFont typeface="Arial" panose="020B0604020202020204" pitchFamily="34" charset="0"/>
              <a:buChar char="•"/>
            </a:pPr>
            <a:r>
              <a:rPr lang="en-US" sz="1200" dirty="0">
                <a:latin typeface="Lato" panose="020F0502020204030203"/>
              </a:rPr>
              <a:t>Performance testing and any other non-functional testing are not considered in the current scope. Some of the test scenarios that cannot be automated will still be continued through manual functional testing. </a:t>
            </a:r>
          </a:p>
          <a:p>
            <a:pPr marL="346075" lvl="1" indent="-234950">
              <a:lnSpc>
                <a:spcPct val="150000"/>
              </a:lnSpc>
              <a:spcBef>
                <a:spcPts val="200"/>
              </a:spcBef>
              <a:buClr>
                <a:srgbClr val="E66B17"/>
              </a:buClr>
              <a:buSzPct val="100000"/>
              <a:buFont typeface="Arial" panose="020B0604020202020204" pitchFamily="34" charset="0"/>
              <a:buChar char="•"/>
            </a:pPr>
            <a:r>
              <a:rPr lang="en-US" sz="1200" dirty="0">
                <a:latin typeface="Lato" panose="020F0502020204030203"/>
              </a:rPr>
              <a:t>We assume the availability of test and sandbox environment for external interfaces which the respective application need to integrate with</a:t>
            </a:r>
          </a:p>
        </p:txBody>
      </p:sp>
    </p:spTree>
    <p:extLst>
      <p:ext uri="{BB962C8B-B14F-4D97-AF65-F5344CB8AC3E}">
        <p14:creationId xmlns:p14="http://schemas.microsoft.com/office/powerpoint/2010/main" val="3881747267"/>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318AC4D-7241-4A28-9F94-0FE216B9504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t="11284" b="4752"/>
          <a:stretch/>
        </p:blipFill>
        <p:spPr>
          <a:xfrm>
            <a:off x="-2" y="784874"/>
            <a:ext cx="12195177" cy="5741936"/>
          </a:xfrm>
          <a:prstGeom prst="rect">
            <a:avLst/>
          </a:prstGeom>
        </p:spPr>
      </p:pic>
      <p:sp>
        <p:nvSpPr>
          <p:cNvPr id="2" name="Title 1">
            <a:extLst>
              <a:ext uri="{FF2B5EF4-FFF2-40B4-BE49-F238E27FC236}">
                <a16:creationId xmlns:a16="http://schemas.microsoft.com/office/drawing/2014/main" id="{1A159384-650A-44AC-84C2-4EC31C942BDF}"/>
              </a:ext>
            </a:extLst>
          </p:cNvPr>
          <p:cNvSpPr>
            <a:spLocks noGrp="1"/>
          </p:cNvSpPr>
          <p:nvPr>
            <p:ph type="title"/>
          </p:nvPr>
        </p:nvSpPr>
        <p:spPr/>
        <p:txBody>
          <a:bodyPr>
            <a:normAutofit/>
          </a:bodyPr>
          <a:lstStyle/>
          <a:p>
            <a:r>
              <a:rPr lang="en-US" sz="2800" dirty="0">
                <a:latin typeface="Lato" panose="020F0502020204030203"/>
              </a:rPr>
              <a:t>Dependencies</a:t>
            </a:r>
          </a:p>
        </p:txBody>
      </p:sp>
      <p:sp>
        <p:nvSpPr>
          <p:cNvPr id="5" name="Rounded Rectangle 4">
            <a:extLst>
              <a:ext uri="{FF2B5EF4-FFF2-40B4-BE49-F238E27FC236}">
                <a16:creationId xmlns:a16="http://schemas.microsoft.com/office/drawing/2014/main" id="{768EBE52-D26D-494E-8CAA-EFA439EE7987}"/>
              </a:ext>
            </a:extLst>
          </p:cNvPr>
          <p:cNvSpPr/>
          <p:nvPr/>
        </p:nvSpPr>
        <p:spPr>
          <a:xfrm>
            <a:off x="287725" y="1136462"/>
            <a:ext cx="11532568" cy="5175128"/>
          </a:xfrm>
          <a:prstGeom prst="roundRect">
            <a:avLst>
              <a:gd name="adj" fmla="val 1437"/>
            </a:avLst>
          </a:prstGeom>
          <a:solidFill>
            <a:schemeClr val="bg1"/>
          </a:solidFill>
          <a:ln w="3175">
            <a:solidFill>
              <a:srgbClr val="7F7F7F"/>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latin typeface="Lato" panose="020F0502020204030203"/>
            </a:endParaRPr>
          </a:p>
        </p:txBody>
      </p:sp>
      <p:sp>
        <p:nvSpPr>
          <p:cNvPr id="4" name="TextBox 3">
            <a:extLst>
              <a:ext uri="{FF2B5EF4-FFF2-40B4-BE49-F238E27FC236}">
                <a16:creationId xmlns:a16="http://schemas.microsoft.com/office/drawing/2014/main" id="{2E16153C-4B2F-4659-8ADE-3D7901D758F2}"/>
              </a:ext>
            </a:extLst>
          </p:cNvPr>
          <p:cNvSpPr txBox="1"/>
          <p:nvPr/>
        </p:nvSpPr>
        <p:spPr>
          <a:xfrm>
            <a:off x="235786" y="1094565"/>
            <a:ext cx="11453109" cy="4160819"/>
          </a:xfrm>
          <a:prstGeom prst="rect">
            <a:avLst/>
          </a:prstGeom>
          <a:noFill/>
        </p:spPr>
        <p:txBody>
          <a:bodyPr wrap="square" rtlCol="0">
            <a:spAutoFit/>
          </a:bodyPr>
          <a:lstStyle/>
          <a:p>
            <a:pPr marL="111125" lvl="1">
              <a:lnSpc>
                <a:spcPct val="150000"/>
              </a:lnSpc>
              <a:spcBef>
                <a:spcPts val="200"/>
              </a:spcBef>
              <a:spcAft>
                <a:spcPts val="200"/>
              </a:spcAft>
              <a:buClr>
                <a:srgbClr val="E66B17"/>
              </a:buClr>
              <a:buSzPct val="100000"/>
            </a:pPr>
            <a:r>
              <a:rPr lang="en-US" sz="1400" dirty="0">
                <a:latin typeface="Lato" panose="020F0502020204030203"/>
              </a:rPr>
              <a:t>Innominds has listed below few dependencies as a part of this engagement. If the dependencies are not resolved in a timely manner may have an impact on the planned test composition and cost.</a:t>
            </a:r>
          </a:p>
          <a:p>
            <a:pPr marL="111125" lvl="1">
              <a:lnSpc>
                <a:spcPct val="150000"/>
              </a:lnSpc>
              <a:spcBef>
                <a:spcPts val="200"/>
              </a:spcBef>
              <a:spcAft>
                <a:spcPts val="200"/>
              </a:spcAft>
              <a:buClr>
                <a:srgbClr val="E66B17"/>
              </a:buClr>
              <a:buSzPct val="100000"/>
            </a:pPr>
            <a:r>
              <a:rPr lang="en-US" sz="1400" b="1" u="sng" dirty="0">
                <a:latin typeface="Lato" panose="020F0502020204030203"/>
              </a:rPr>
              <a:t>Dependencies:</a:t>
            </a:r>
          </a:p>
          <a:p>
            <a:pPr marL="346075" lvl="1" indent="-234950">
              <a:lnSpc>
                <a:spcPct val="150000"/>
              </a:lnSpc>
              <a:spcBef>
                <a:spcPts val="200"/>
              </a:spcBef>
              <a:spcAft>
                <a:spcPts val="200"/>
              </a:spcAft>
              <a:buClr>
                <a:srgbClr val="E66B17"/>
              </a:buClr>
              <a:buSzPct val="100000"/>
              <a:buFont typeface="Arial" panose="020B0604020202020204" pitchFamily="34" charset="0"/>
              <a:buChar char="•"/>
            </a:pPr>
            <a:r>
              <a:rPr lang="en-US" sz="1200" dirty="0">
                <a:latin typeface="Lato" panose="020F0502020204030203"/>
              </a:rPr>
              <a:t>Nasdaq to provide KT and walk through of the application under test and end to end walk through code to Innominds team</a:t>
            </a:r>
          </a:p>
          <a:p>
            <a:pPr marL="346075" lvl="1" indent="-234950">
              <a:lnSpc>
                <a:spcPct val="150000"/>
              </a:lnSpc>
              <a:spcBef>
                <a:spcPts val="200"/>
              </a:spcBef>
              <a:spcAft>
                <a:spcPts val="200"/>
              </a:spcAft>
              <a:buClr>
                <a:srgbClr val="E66B17"/>
              </a:buClr>
              <a:buSzPct val="100000"/>
              <a:buFont typeface="Arial" panose="020B0604020202020204" pitchFamily="34" charset="0"/>
              <a:buChar char="•"/>
            </a:pPr>
            <a:r>
              <a:rPr lang="en-US" sz="1200" dirty="0">
                <a:latin typeface="Lato" panose="020F0502020204030203"/>
              </a:rPr>
              <a:t>Nasdaq team shall provide Project Architecture design to understand the integration points between components to Innominds team</a:t>
            </a:r>
          </a:p>
          <a:p>
            <a:pPr marL="346075" lvl="1" indent="-234950">
              <a:lnSpc>
                <a:spcPct val="150000"/>
              </a:lnSpc>
              <a:spcBef>
                <a:spcPts val="200"/>
              </a:spcBef>
              <a:spcAft>
                <a:spcPts val="200"/>
              </a:spcAft>
              <a:buClr>
                <a:srgbClr val="E66B17"/>
              </a:buClr>
              <a:buSzPct val="100000"/>
              <a:buFont typeface="Arial" panose="020B0604020202020204" pitchFamily="34" charset="0"/>
              <a:buChar char="•"/>
            </a:pPr>
            <a:r>
              <a:rPr lang="en-US" sz="1200" dirty="0">
                <a:latin typeface="Lato" panose="020F0502020204030203"/>
              </a:rPr>
              <a:t>Nasdaq team shall provide Method level boundary value conditions and exception handlings should be provided to Innominds team</a:t>
            </a:r>
          </a:p>
          <a:p>
            <a:pPr marL="346075" lvl="1" indent="-234950">
              <a:lnSpc>
                <a:spcPct val="150000"/>
              </a:lnSpc>
              <a:spcBef>
                <a:spcPts val="200"/>
              </a:spcBef>
              <a:spcAft>
                <a:spcPts val="200"/>
              </a:spcAft>
              <a:buClr>
                <a:srgbClr val="E66B17"/>
              </a:buClr>
              <a:buSzPct val="100000"/>
              <a:buFont typeface="Arial" panose="020B0604020202020204" pitchFamily="34" charset="0"/>
              <a:buChar char="•"/>
            </a:pPr>
            <a:r>
              <a:rPr lang="en-US" sz="1200" dirty="0">
                <a:latin typeface="Lato" panose="020F0502020204030203"/>
              </a:rPr>
              <a:t>Nasdaq to provide access to the required application(s), hardware, software, tools and infrastructure</a:t>
            </a:r>
          </a:p>
          <a:p>
            <a:pPr marL="346075" lvl="1" indent="-234950">
              <a:lnSpc>
                <a:spcPct val="150000"/>
              </a:lnSpc>
              <a:spcBef>
                <a:spcPts val="200"/>
              </a:spcBef>
              <a:spcAft>
                <a:spcPts val="200"/>
              </a:spcAft>
              <a:buClr>
                <a:srgbClr val="E66B17"/>
              </a:buClr>
              <a:buSzPct val="100000"/>
              <a:buFont typeface="Arial" panose="020B0604020202020204" pitchFamily="34" charset="0"/>
              <a:buChar char="•"/>
            </a:pPr>
            <a:r>
              <a:rPr lang="en-US" sz="1200" dirty="0">
                <a:latin typeface="Lato" panose="020F0502020204030203"/>
              </a:rPr>
              <a:t>Nasdaq to provide access the application environment through a secured VPN connection to Innominds offshore testing team</a:t>
            </a:r>
          </a:p>
          <a:p>
            <a:pPr marL="346075" lvl="1" indent="-234950">
              <a:lnSpc>
                <a:spcPct val="150000"/>
              </a:lnSpc>
              <a:spcBef>
                <a:spcPts val="200"/>
              </a:spcBef>
              <a:spcAft>
                <a:spcPts val="200"/>
              </a:spcAft>
              <a:buClr>
                <a:srgbClr val="E66B17"/>
              </a:buClr>
              <a:buSzPct val="100000"/>
              <a:buFont typeface="Arial" panose="020B0604020202020204" pitchFamily="34" charset="0"/>
              <a:buChar char="•"/>
            </a:pPr>
            <a:r>
              <a:rPr lang="en-US" sz="1200" dirty="0">
                <a:latin typeface="Lato" panose="020F0502020204030203"/>
              </a:rPr>
              <a:t>Any tools and devices and OS required for testing the applications will be provided by Nasdaq</a:t>
            </a:r>
          </a:p>
          <a:p>
            <a:pPr marL="346075" lvl="1" indent="-234950">
              <a:lnSpc>
                <a:spcPct val="150000"/>
              </a:lnSpc>
              <a:spcBef>
                <a:spcPts val="200"/>
              </a:spcBef>
              <a:spcAft>
                <a:spcPts val="200"/>
              </a:spcAft>
              <a:buClr>
                <a:srgbClr val="E66B17"/>
              </a:buClr>
              <a:buSzPct val="100000"/>
              <a:buFont typeface="Arial" panose="020B0604020202020204" pitchFamily="34" charset="0"/>
              <a:buChar char="•"/>
            </a:pPr>
            <a:r>
              <a:rPr lang="en-US" sz="1200" dirty="0">
                <a:latin typeface="Lato" panose="020F0502020204030203"/>
              </a:rPr>
              <a:t>All the test deliverables will be signed-off by Nasdaq within 48 hours of submission</a:t>
            </a:r>
          </a:p>
          <a:p>
            <a:pPr marL="346075" lvl="1" indent="-234950">
              <a:lnSpc>
                <a:spcPct val="150000"/>
              </a:lnSpc>
              <a:spcBef>
                <a:spcPts val="200"/>
              </a:spcBef>
              <a:spcAft>
                <a:spcPts val="200"/>
              </a:spcAft>
              <a:buClr>
                <a:srgbClr val="E66B17"/>
              </a:buClr>
              <a:buSzPct val="100000"/>
              <a:buFont typeface="Arial" panose="020B0604020202020204" pitchFamily="34" charset="0"/>
              <a:buChar char="•"/>
            </a:pPr>
            <a:r>
              <a:rPr lang="en-US" sz="1200" dirty="0">
                <a:latin typeface="Lato" panose="020F0502020204030203"/>
              </a:rPr>
              <a:t>Nasdaq will provide Innominds with test data, existing Stubs and simulators that may be used for unit testing</a:t>
            </a:r>
          </a:p>
          <a:p>
            <a:pPr marL="346075" lvl="1" indent="-234950">
              <a:lnSpc>
                <a:spcPct val="150000"/>
              </a:lnSpc>
              <a:spcBef>
                <a:spcPts val="200"/>
              </a:spcBef>
              <a:spcAft>
                <a:spcPts val="200"/>
              </a:spcAft>
              <a:buClr>
                <a:srgbClr val="E66B17"/>
              </a:buClr>
              <a:buSzPct val="100000"/>
              <a:buFont typeface="Arial" panose="020B0604020202020204" pitchFamily="34" charset="0"/>
              <a:buChar char="•"/>
            </a:pPr>
            <a:r>
              <a:rPr lang="en-US" sz="1200" dirty="0">
                <a:latin typeface="Lato" panose="020F0502020204030203"/>
              </a:rPr>
              <a:t>Any pre-requisite data required for the proper functioning of the applications (and thereon unit tests) shall be provided by Nasdaq</a:t>
            </a:r>
          </a:p>
        </p:txBody>
      </p:sp>
    </p:spTree>
    <p:extLst>
      <p:ext uri="{BB962C8B-B14F-4D97-AF65-F5344CB8AC3E}">
        <p14:creationId xmlns:p14="http://schemas.microsoft.com/office/powerpoint/2010/main" val="1053135371"/>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9RO7Kjlj0m87aR3Q_cE6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imple-light">
  <a:themeElements>
    <a:clrScheme name="simple-light">
      <a:dk1>
        <a:srgbClr val="000000"/>
      </a:dk1>
      <a:lt1>
        <a:srgbClr val="FFFFFF"/>
      </a:lt1>
      <a:dk2>
        <a:srgbClr val="A7A7A7"/>
      </a:dk2>
      <a:lt2>
        <a:srgbClr val="535353"/>
      </a:lt2>
      <a:accent1>
        <a:srgbClr val="3A81BA"/>
      </a:accent1>
      <a:accent2>
        <a:srgbClr val="D89F39"/>
      </a:accent2>
      <a:accent3>
        <a:srgbClr val="8BAB42"/>
      </a:accent3>
      <a:accent4>
        <a:srgbClr val="57A7B5"/>
      </a:accent4>
      <a:accent5>
        <a:srgbClr val="8B81D2"/>
      </a:accent5>
      <a:accent6>
        <a:srgbClr val="963334"/>
      </a:accent6>
      <a:hlink>
        <a:srgbClr val="0000FF"/>
      </a:hlink>
      <a:folHlink>
        <a:srgbClr val="FF00FF"/>
      </a:folHlink>
    </a:clrScheme>
    <a:fontScheme name="simple-light">
      <a:majorFont>
        <a:latin typeface="Helvetica"/>
        <a:ea typeface="Helvetica"/>
        <a:cs typeface="Helvetica"/>
      </a:majorFont>
      <a:minorFont>
        <a:latin typeface="Arial"/>
        <a:ea typeface="Arial"/>
        <a:cs typeface="Arial"/>
      </a:minorFont>
    </a:fontScheme>
    <a:fmtScheme name="simple-light">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000000"/>
            </a:solidFill>
            <a:effectLst/>
            <a:uFillTx/>
            <a:latin typeface="+mn-lt"/>
            <a:ea typeface="+mn-ea"/>
            <a:cs typeface="+mn-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000000"/>
            </a:solidFill>
            <a:effectLst/>
            <a:uFillTx/>
            <a:latin typeface="+mn-lt"/>
            <a:ea typeface="+mn-ea"/>
            <a:cs typeface="+mn-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Presentation Template April 2017" id="{0F247784-A7B8-6E46-B422-7E928740E2E9}" vid="{11B6DB74-F554-314D-8E60-90591605237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489</TotalTime>
  <Words>1583</Words>
  <Application>Microsoft Office PowerPoint</Application>
  <PresentationFormat>Widescreen</PresentationFormat>
  <Paragraphs>162</Paragraphs>
  <Slides>12</Slides>
  <Notes>1</Notes>
  <HiddenSlides>0</HiddenSlides>
  <MMClips>0</MMClips>
  <ScaleCrop>false</ScaleCrop>
  <HeadingPairs>
    <vt:vector size="6" baseType="variant">
      <vt:variant>
        <vt:lpstr>Fonts Used</vt:lpstr>
      </vt:variant>
      <vt:variant>
        <vt:i4>18</vt:i4>
      </vt:variant>
      <vt:variant>
        <vt:lpstr>Theme</vt:lpstr>
      </vt:variant>
      <vt:variant>
        <vt:i4>2</vt:i4>
      </vt:variant>
      <vt:variant>
        <vt:lpstr>Slide Titles</vt:lpstr>
      </vt:variant>
      <vt:variant>
        <vt:i4>12</vt:i4>
      </vt:variant>
    </vt:vector>
  </HeadingPairs>
  <TitlesOfParts>
    <vt:vector size="32" baseType="lpstr">
      <vt:lpstr>Arial</vt:lpstr>
      <vt:lpstr>Calibri</vt:lpstr>
      <vt:lpstr>Calibri Light</vt:lpstr>
      <vt:lpstr>Courier New</vt:lpstr>
      <vt:lpstr>Georgia</vt:lpstr>
      <vt:lpstr>Helvetica</vt:lpstr>
      <vt:lpstr>Lato</vt:lpstr>
      <vt:lpstr>Lato Black</vt:lpstr>
      <vt:lpstr>Lato Bold</vt:lpstr>
      <vt:lpstr>Lato Heavy</vt:lpstr>
      <vt:lpstr>Lato Light</vt:lpstr>
      <vt:lpstr>Lato Medium</vt:lpstr>
      <vt:lpstr>Lato Thin</vt:lpstr>
      <vt:lpstr>LucidaGrande</vt:lpstr>
      <vt:lpstr>Proxima Nova</vt:lpstr>
      <vt:lpstr>System Font Regular</vt:lpstr>
      <vt:lpstr>Times New Roman</vt:lpstr>
      <vt:lpstr>Wingdings</vt:lpstr>
      <vt:lpstr>Office Theme</vt:lpstr>
      <vt:lpstr>simple-light</vt:lpstr>
      <vt:lpstr>PowerPoint Presentation</vt:lpstr>
      <vt:lpstr>PowerPoint Presentation</vt:lpstr>
      <vt:lpstr>Our Understanding and Engagement Scope</vt:lpstr>
      <vt:lpstr>Unit Testing Approach</vt:lpstr>
      <vt:lpstr>Unit Test Considerations</vt:lpstr>
      <vt:lpstr>Commercials and Assumptions</vt:lpstr>
      <vt:lpstr>Schedule</vt:lpstr>
      <vt:lpstr>Assumptions</vt:lpstr>
      <vt:lpstr>Dependencies</vt:lpstr>
      <vt:lpstr>Engagement Model and Commercials</vt:lpstr>
      <vt:lpstr>Why Innominds</vt:lpstr>
      <vt:lpstr>Global Loca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tya Sai Kiran Jalasutram</dc:creator>
  <cp:lastModifiedBy>Sameer Hadnoorkar</cp:lastModifiedBy>
  <cp:revision>386</cp:revision>
  <dcterms:created xsi:type="dcterms:W3CDTF">2018-07-19T09:14:49Z</dcterms:created>
  <dcterms:modified xsi:type="dcterms:W3CDTF">2018-11-01T17:22:32Z</dcterms:modified>
</cp:coreProperties>
</file>